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6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8CF62D-0FF6-03F9-46D2-EEAB18D8F4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5" name="think-cell data - do not delete" hidden="1">
            <a:extLst>
              <a:ext uri="{FF2B5EF4-FFF2-40B4-BE49-F238E27FC236}">
                <a16:creationId xmlns:a16="http://schemas.microsoft.com/office/drawing/2014/main" id="{67FB7B47-1DF3-B5FE-6797-56A644DD4E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0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FB7B47-1DF3-B5FE-6797-56A644DD4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C5EA0D2-2997-49A9-44D9-56CD35E576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CAA607-41F5-2075-63BF-680ADB184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97BB0F6-5897-13CA-9509-CC2140DA6434}"/>
              </a:ext>
            </a:extLst>
          </p:cNvPr>
          <p:cNvGrpSpPr/>
          <p:nvPr/>
        </p:nvGrpSpPr>
        <p:grpSpPr>
          <a:xfrm>
            <a:off x="3871830" y="1578153"/>
            <a:ext cx="4448341" cy="4442475"/>
            <a:chOff x="9769476" y="1646238"/>
            <a:chExt cx="1204913" cy="1203325"/>
          </a:xfrm>
        </p:grpSpPr>
        <p:sp>
          <p:nvSpPr>
            <p:cNvPr id="6" name="Freeform 436">
              <a:extLst>
                <a:ext uri="{FF2B5EF4-FFF2-40B4-BE49-F238E27FC236}">
                  <a16:creationId xmlns:a16="http://schemas.microsoft.com/office/drawing/2014/main" id="{067C4A3B-3DC8-A02C-3320-9733868E68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0788" y="1646238"/>
              <a:ext cx="522288" cy="330200"/>
            </a:xfrm>
            <a:custGeom>
              <a:avLst/>
              <a:gdLst>
                <a:gd name="T0" fmla="*/ 185 w 670"/>
                <a:gd name="T1" fmla="*/ 416 h 424"/>
                <a:gd name="T2" fmla="*/ 335 w 670"/>
                <a:gd name="T3" fmla="*/ 386 h 424"/>
                <a:gd name="T4" fmla="*/ 486 w 670"/>
                <a:gd name="T5" fmla="*/ 416 h 424"/>
                <a:gd name="T6" fmla="*/ 503 w 670"/>
                <a:gd name="T7" fmla="*/ 424 h 424"/>
                <a:gd name="T8" fmla="*/ 670 w 670"/>
                <a:gd name="T9" fmla="*/ 76 h 424"/>
                <a:gd name="T10" fmla="*/ 335 w 670"/>
                <a:gd name="T11" fmla="*/ 0 h 424"/>
                <a:gd name="T12" fmla="*/ 0 w 670"/>
                <a:gd name="T13" fmla="*/ 76 h 424"/>
                <a:gd name="T14" fmla="*/ 168 w 670"/>
                <a:gd name="T15" fmla="*/ 424 h 424"/>
                <a:gd name="T16" fmla="*/ 185 w 670"/>
                <a:gd name="T17" fmla="*/ 416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0" h="424">
                  <a:moveTo>
                    <a:pt x="185" y="416"/>
                  </a:moveTo>
                  <a:cubicBezTo>
                    <a:pt x="232" y="396"/>
                    <a:pt x="283" y="386"/>
                    <a:pt x="335" y="386"/>
                  </a:cubicBezTo>
                  <a:cubicBezTo>
                    <a:pt x="387" y="386"/>
                    <a:pt x="438" y="396"/>
                    <a:pt x="486" y="416"/>
                  </a:cubicBezTo>
                  <a:cubicBezTo>
                    <a:pt x="492" y="418"/>
                    <a:pt x="497" y="421"/>
                    <a:pt x="503" y="424"/>
                  </a:cubicBezTo>
                  <a:cubicBezTo>
                    <a:pt x="670" y="76"/>
                    <a:pt x="670" y="76"/>
                    <a:pt x="670" y="76"/>
                  </a:cubicBezTo>
                  <a:cubicBezTo>
                    <a:pt x="569" y="27"/>
                    <a:pt x="455" y="0"/>
                    <a:pt x="335" y="0"/>
                  </a:cubicBezTo>
                  <a:cubicBezTo>
                    <a:pt x="215" y="0"/>
                    <a:pt x="101" y="27"/>
                    <a:pt x="0" y="76"/>
                  </a:cubicBezTo>
                  <a:cubicBezTo>
                    <a:pt x="168" y="424"/>
                    <a:pt x="168" y="424"/>
                    <a:pt x="168" y="424"/>
                  </a:cubicBezTo>
                  <a:cubicBezTo>
                    <a:pt x="173" y="421"/>
                    <a:pt x="179" y="418"/>
                    <a:pt x="185" y="41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" name="Freeform 437">
              <a:extLst>
                <a:ext uri="{FF2B5EF4-FFF2-40B4-BE49-F238E27FC236}">
                  <a16:creationId xmlns:a16="http://schemas.microsoft.com/office/drawing/2014/main" id="{34A77E9A-B589-18F5-8FEA-BF100B2B5C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5351" y="1704975"/>
              <a:ext cx="455613" cy="474663"/>
            </a:xfrm>
            <a:custGeom>
              <a:avLst/>
              <a:gdLst>
                <a:gd name="T0" fmla="*/ 397 w 585"/>
                <a:gd name="T1" fmla="*/ 546 h 610"/>
                <a:gd name="T2" fmla="*/ 480 w 585"/>
                <a:gd name="T3" fmla="*/ 423 h 610"/>
                <a:gd name="T4" fmla="*/ 585 w 585"/>
                <a:gd name="T5" fmla="*/ 348 h 610"/>
                <a:gd name="T6" fmla="*/ 418 w 585"/>
                <a:gd name="T7" fmla="*/ 0 h 610"/>
                <a:gd name="T8" fmla="*/ 0 w 585"/>
                <a:gd name="T9" fmla="*/ 524 h 610"/>
                <a:gd name="T10" fmla="*/ 376 w 585"/>
                <a:gd name="T11" fmla="*/ 610 h 610"/>
                <a:gd name="T12" fmla="*/ 397 w 585"/>
                <a:gd name="T13" fmla="*/ 546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5" h="610">
                  <a:moveTo>
                    <a:pt x="397" y="546"/>
                  </a:moveTo>
                  <a:cubicBezTo>
                    <a:pt x="416" y="500"/>
                    <a:pt x="444" y="458"/>
                    <a:pt x="480" y="423"/>
                  </a:cubicBezTo>
                  <a:cubicBezTo>
                    <a:pt x="511" y="392"/>
                    <a:pt x="546" y="367"/>
                    <a:pt x="585" y="348"/>
                  </a:cubicBezTo>
                  <a:cubicBezTo>
                    <a:pt x="418" y="0"/>
                    <a:pt x="418" y="0"/>
                    <a:pt x="418" y="0"/>
                  </a:cubicBezTo>
                  <a:cubicBezTo>
                    <a:pt x="209" y="101"/>
                    <a:pt x="53" y="293"/>
                    <a:pt x="0" y="524"/>
                  </a:cubicBezTo>
                  <a:cubicBezTo>
                    <a:pt x="376" y="610"/>
                    <a:pt x="376" y="610"/>
                    <a:pt x="376" y="610"/>
                  </a:cubicBezTo>
                  <a:cubicBezTo>
                    <a:pt x="381" y="588"/>
                    <a:pt x="388" y="566"/>
                    <a:pt x="397" y="54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438">
              <a:extLst>
                <a:ext uri="{FF2B5EF4-FFF2-40B4-BE49-F238E27FC236}">
                  <a16:creationId xmlns:a16="http://schemas.microsoft.com/office/drawing/2014/main" id="{BA733420-5656-2BE9-1D6A-F1DC874E3D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1138" y="2435225"/>
              <a:ext cx="471488" cy="414338"/>
            </a:xfrm>
            <a:custGeom>
              <a:avLst/>
              <a:gdLst>
                <a:gd name="T0" fmla="*/ 274 w 604"/>
                <a:gd name="T1" fmla="*/ 33 h 532"/>
                <a:gd name="T2" fmla="*/ 151 w 604"/>
                <a:gd name="T3" fmla="*/ 115 h 532"/>
                <a:gd name="T4" fmla="*/ 0 w 604"/>
                <a:gd name="T5" fmla="*/ 146 h 532"/>
                <a:gd name="T6" fmla="*/ 0 w 604"/>
                <a:gd name="T7" fmla="*/ 532 h 532"/>
                <a:gd name="T8" fmla="*/ 604 w 604"/>
                <a:gd name="T9" fmla="*/ 241 h 532"/>
                <a:gd name="T10" fmla="*/ 302 w 604"/>
                <a:gd name="T11" fmla="*/ 0 h 532"/>
                <a:gd name="T12" fmla="*/ 274 w 604"/>
                <a:gd name="T13" fmla="*/ 33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4" h="532">
                  <a:moveTo>
                    <a:pt x="274" y="33"/>
                  </a:moveTo>
                  <a:cubicBezTo>
                    <a:pt x="238" y="68"/>
                    <a:pt x="197" y="96"/>
                    <a:pt x="151" y="115"/>
                  </a:cubicBezTo>
                  <a:cubicBezTo>
                    <a:pt x="103" y="135"/>
                    <a:pt x="53" y="146"/>
                    <a:pt x="0" y="146"/>
                  </a:cubicBezTo>
                  <a:cubicBezTo>
                    <a:pt x="0" y="532"/>
                    <a:pt x="0" y="532"/>
                    <a:pt x="0" y="532"/>
                  </a:cubicBezTo>
                  <a:cubicBezTo>
                    <a:pt x="244" y="532"/>
                    <a:pt x="462" y="418"/>
                    <a:pt x="604" y="241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293" y="12"/>
                    <a:pt x="284" y="22"/>
                    <a:pt x="274" y="33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439">
              <a:extLst>
                <a:ext uri="{FF2B5EF4-FFF2-40B4-BE49-F238E27FC236}">
                  <a16:creationId xmlns:a16="http://schemas.microsoft.com/office/drawing/2014/main" id="{7EDF46F1-6E01-8F4F-81AC-0ADFEA96EECD}"/>
                </a:ext>
              </a:extLst>
            </p:cNvPr>
            <p:cNvSpPr>
              <a:spLocks/>
            </p:cNvSpPr>
            <p:nvPr/>
          </p:nvSpPr>
          <p:spPr bwMode="auto">
            <a:xfrm>
              <a:off x="9769476" y="2112963"/>
              <a:ext cx="366713" cy="509588"/>
            </a:xfrm>
            <a:custGeom>
              <a:avLst/>
              <a:gdLst>
                <a:gd name="T0" fmla="*/ 416 w 470"/>
                <a:gd name="T1" fmla="*/ 323 h 654"/>
                <a:gd name="T2" fmla="*/ 386 w 470"/>
                <a:gd name="T3" fmla="*/ 172 h 654"/>
                <a:gd name="T4" fmla="*/ 395 w 470"/>
                <a:gd name="T5" fmla="*/ 86 h 654"/>
                <a:gd name="T6" fmla="*/ 19 w 470"/>
                <a:gd name="T7" fmla="*/ 0 h 654"/>
                <a:gd name="T8" fmla="*/ 0 w 470"/>
                <a:gd name="T9" fmla="*/ 172 h 654"/>
                <a:gd name="T10" fmla="*/ 168 w 470"/>
                <a:gd name="T11" fmla="*/ 654 h 654"/>
                <a:gd name="T12" fmla="*/ 470 w 470"/>
                <a:gd name="T13" fmla="*/ 413 h 654"/>
                <a:gd name="T14" fmla="*/ 416 w 470"/>
                <a:gd name="T15" fmla="*/ 323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0" h="654">
                  <a:moveTo>
                    <a:pt x="416" y="323"/>
                  </a:moveTo>
                  <a:cubicBezTo>
                    <a:pt x="396" y="275"/>
                    <a:pt x="386" y="224"/>
                    <a:pt x="386" y="172"/>
                  </a:cubicBezTo>
                  <a:cubicBezTo>
                    <a:pt x="386" y="143"/>
                    <a:pt x="389" y="114"/>
                    <a:pt x="395" y="86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6" y="56"/>
                    <a:pt x="0" y="113"/>
                    <a:pt x="0" y="172"/>
                  </a:cubicBezTo>
                  <a:cubicBezTo>
                    <a:pt x="0" y="354"/>
                    <a:pt x="63" y="521"/>
                    <a:pt x="168" y="654"/>
                  </a:cubicBezTo>
                  <a:cubicBezTo>
                    <a:pt x="470" y="413"/>
                    <a:pt x="470" y="413"/>
                    <a:pt x="470" y="413"/>
                  </a:cubicBezTo>
                  <a:cubicBezTo>
                    <a:pt x="448" y="386"/>
                    <a:pt x="430" y="355"/>
                    <a:pt x="416" y="32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440">
              <a:extLst>
                <a:ext uri="{FF2B5EF4-FFF2-40B4-BE49-F238E27FC236}">
                  <a16:creationId xmlns:a16="http://schemas.microsoft.com/office/drawing/2014/main" id="{013F45DC-4B61-5605-D5D2-CBE62DE768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7676" y="2112963"/>
              <a:ext cx="366713" cy="509588"/>
            </a:xfrm>
            <a:custGeom>
              <a:avLst/>
              <a:gdLst>
                <a:gd name="T0" fmla="*/ 84 w 470"/>
                <a:gd name="T1" fmla="*/ 172 h 654"/>
                <a:gd name="T2" fmla="*/ 53 w 470"/>
                <a:gd name="T3" fmla="*/ 323 h 654"/>
                <a:gd name="T4" fmla="*/ 0 w 470"/>
                <a:gd name="T5" fmla="*/ 413 h 654"/>
                <a:gd name="T6" fmla="*/ 301 w 470"/>
                <a:gd name="T7" fmla="*/ 654 h 654"/>
                <a:gd name="T8" fmla="*/ 470 w 470"/>
                <a:gd name="T9" fmla="*/ 172 h 654"/>
                <a:gd name="T10" fmla="*/ 451 w 470"/>
                <a:gd name="T11" fmla="*/ 0 h 654"/>
                <a:gd name="T12" fmla="*/ 74 w 470"/>
                <a:gd name="T13" fmla="*/ 86 h 654"/>
                <a:gd name="T14" fmla="*/ 84 w 470"/>
                <a:gd name="T15" fmla="*/ 172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0" h="654">
                  <a:moveTo>
                    <a:pt x="84" y="172"/>
                  </a:moveTo>
                  <a:cubicBezTo>
                    <a:pt x="84" y="224"/>
                    <a:pt x="74" y="275"/>
                    <a:pt x="53" y="323"/>
                  </a:cubicBezTo>
                  <a:cubicBezTo>
                    <a:pt x="40" y="355"/>
                    <a:pt x="22" y="386"/>
                    <a:pt x="0" y="413"/>
                  </a:cubicBezTo>
                  <a:cubicBezTo>
                    <a:pt x="301" y="654"/>
                    <a:pt x="301" y="654"/>
                    <a:pt x="301" y="654"/>
                  </a:cubicBezTo>
                  <a:cubicBezTo>
                    <a:pt x="407" y="521"/>
                    <a:pt x="470" y="354"/>
                    <a:pt x="470" y="172"/>
                  </a:cubicBezTo>
                  <a:cubicBezTo>
                    <a:pt x="470" y="113"/>
                    <a:pt x="463" y="56"/>
                    <a:pt x="451" y="0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81" y="114"/>
                    <a:pt x="84" y="143"/>
                    <a:pt x="84" y="172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441">
              <a:extLst>
                <a:ext uri="{FF2B5EF4-FFF2-40B4-BE49-F238E27FC236}">
                  <a16:creationId xmlns:a16="http://schemas.microsoft.com/office/drawing/2014/main" id="{321D1330-5E25-41C2-1CE2-1C495BF60E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2901" y="1704975"/>
              <a:ext cx="455613" cy="474663"/>
            </a:xfrm>
            <a:custGeom>
              <a:avLst/>
              <a:gdLst>
                <a:gd name="T0" fmla="*/ 106 w 585"/>
                <a:gd name="T1" fmla="*/ 423 h 610"/>
                <a:gd name="T2" fmla="*/ 188 w 585"/>
                <a:gd name="T3" fmla="*/ 546 h 610"/>
                <a:gd name="T4" fmla="*/ 209 w 585"/>
                <a:gd name="T5" fmla="*/ 610 h 610"/>
                <a:gd name="T6" fmla="*/ 585 w 585"/>
                <a:gd name="T7" fmla="*/ 524 h 610"/>
                <a:gd name="T8" fmla="*/ 168 w 585"/>
                <a:gd name="T9" fmla="*/ 0 h 610"/>
                <a:gd name="T10" fmla="*/ 0 w 585"/>
                <a:gd name="T11" fmla="*/ 348 h 610"/>
                <a:gd name="T12" fmla="*/ 106 w 585"/>
                <a:gd name="T13" fmla="*/ 423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5" h="610">
                  <a:moveTo>
                    <a:pt x="106" y="423"/>
                  </a:moveTo>
                  <a:cubicBezTo>
                    <a:pt x="141" y="458"/>
                    <a:pt x="169" y="500"/>
                    <a:pt x="188" y="546"/>
                  </a:cubicBezTo>
                  <a:cubicBezTo>
                    <a:pt x="197" y="566"/>
                    <a:pt x="204" y="588"/>
                    <a:pt x="209" y="610"/>
                  </a:cubicBezTo>
                  <a:cubicBezTo>
                    <a:pt x="585" y="524"/>
                    <a:pt x="585" y="524"/>
                    <a:pt x="585" y="524"/>
                  </a:cubicBezTo>
                  <a:cubicBezTo>
                    <a:pt x="533" y="293"/>
                    <a:pt x="376" y="101"/>
                    <a:pt x="168" y="0"/>
                  </a:cubicBezTo>
                  <a:cubicBezTo>
                    <a:pt x="0" y="348"/>
                    <a:pt x="0" y="348"/>
                    <a:pt x="0" y="348"/>
                  </a:cubicBezTo>
                  <a:cubicBezTo>
                    <a:pt x="39" y="367"/>
                    <a:pt x="75" y="392"/>
                    <a:pt x="106" y="42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442">
              <a:extLst>
                <a:ext uri="{FF2B5EF4-FFF2-40B4-BE49-F238E27FC236}">
                  <a16:creationId xmlns:a16="http://schemas.microsoft.com/office/drawing/2014/main" id="{D8A6253C-23D8-A633-31CF-84837CCC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1238" y="2435225"/>
              <a:ext cx="469900" cy="414338"/>
            </a:xfrm>
            <a:custGeom>
              <a:avLst/>
              <a:gdLst>
                <a:gd name="T0" fmla="*/ 453 w 603"/>
                <a:gd name="T1" fmla="*/ 115 h 532"/>
                <a:gd name="T2" fmla="*/ 330 w 603"/>
                <a:gd name="T3" fmla="*/ 33 h 532"/>
                <a:gd name="T4" fmla="*/ 301 w 603"/>
                <a:gd name="T5" fmla="*/ 0 h 532"/>
                <a:gd name="T6" fmla="*/ 0 w 603"/>
                <a:gd name="T7" fmla="*/ 241 h 532"/>
                <a:gd name="T8" fmla="*/ 603 w 603"/>
                <a:gd name="T9" fmla="*/ 532 h 532"/>
                <a:gd name="T10" fmla="*/ 603 w 603"/>
                <a:gd name="T11" fmla="*/ 146 h 532"/>
                <a:gd name="T12" fmla="*/ 453 w 603"/>
                <a:gd name="T13" fmla="*/ 115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3" h="532">
                  <a:moveTo>
                    <a:pt x="453" y="115"/>
                  </a:moveTo>
                  <a:cubicBezTo>
                    <a:pt x="407" y="96"/>
                    <a:pt x="365" y="68"/>
                    <a:pt x="330" y="33"/>
                  </a:cubicBezTo>
                  <a:cubicBezTo>
                    <a:pt x="320" y="22"/>
                    <a:pt x="310" y="12"/>
                    <a:pt x="301" y="0"/>
                  </a:cubicBezTo>
                  <a:cubicBezTo>
                    <a:pt x="0" y="241"/>
                    <a:pt x="0" y="241"/>
                    <a:pt x="0" y="241"/>
                  </a:cubicBezTo>
                  <a:cubicBezTo>
                    <a:pt x="141" y="418"/>
                    <a:pt x="359" y="532"/>
                    <a:pt x="603" y="532"/>
                  </a:cubicBezTo>
                  <a:cubicBezTo>
                    <a:pt x="603" y="146"/>
                    <a:pt x="603" y="146"/>
                    <a:pt x="603" y="146"/>
                  </a:cubicBezTo>
                  <a:cubicBezTo>
                    <a:pt x="551" y="146"/>
                    <a:pt x="500" y="135"/>
                    <a:pt x="453" y="11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CB218A4C-6A2F-83EE-848E-D44C61C892D9}"/>
              </a:ext>
            </a:extLst>
          </p:cNvPr>
          <p:cNvSpPr/>
          <p:nvPr/>
        </p:nvSpPr>
        <p:spPr>
          <a:xfrm>
            <a:off x="517567" y="1612304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sz="1600" dirty="0">
                <a:solidFill>
                  <a:schemeClr val="accent1"/>
                </a:solidFill>
              </a:rPr>
              <a:t>Enter Your Title</a:t>
            </a:r>
          </a:p>
          <a:p>
            <a:pPr algn="r"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4E86E1A-1ABD-0614-193C-AD7ADD564E54}"/>
              </a:ext>
            </a:extLst>
          </p:cNvPr>
          <p:cNvSpPr/>
          <p:nvPr/>
        </p:nvSpPr>
        <p:spPr>
          <a:xfrm>
            <a:off x="517567" y="3310748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sz="1600" b="1" dirty="0">
                <a:solidFill>
                  <a:schemeClr val="accent3"/>
                </a:solidFill>
              </a:rPr>
              <a:t>Enter Your Title</a:t>
            </a:r>
            <a:endParaRPr lang="en-US" sz="1600" dirty="0">
              <a:solidFill>
                <a:schemeClr val="accent3"/>
              </a:solidFill>
            </a:endParaRPr>
          </a:p>
          <a:p>
            <a:pPr algn="r"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38745C4-2EFD-88BB-BDC0-ABE83705E2AD}"/>
              </a:ext>
            </a:extLst>
          </p:cNvPr>
          <p:cNvSpPr/>
          <p:nvPr/>
        </p:nvSpPr>
        <p:spPr>
          <a:xfrm>
            <a:off x="517567" y="5009193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sz="1600" b="1" dirty="0">
                <a:solidFill>
                  <a:schemeClr val="accent6"/>
                </a:solidFill>
              </a:rPr>
              <a:t>Enter Your Title</a:t>
            </a:r>
            <a:endParaRPr lang="en-US" sz="1600" dirty="0">
              <a:solidFill>
                <a:schemeClr val="accent6"/>
              </a:solidFill>
            </a:endParaRPr>
          </a:p>
          <a:p>
            <a:pPr algn="r"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56C0C32-ADB4-5635-3FD8-4AF188FC47A1}"/>
              </a:ext>
            </a:extLst>
          </p:cNvPr>
          <p:cNvSpPr/>
          <p:nvPr/>
        </p:nvSpPr>
        <p:spPr>
          <a:xfrm>
            <a:off x="8670511" y="1612304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accent2"/>
                </a:solidFill>
              </a:rPr>
              <a:t>Enter Your Title</a:t>
            </a:r>
            <a:endParaRPr lang="en-US" sz="16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03F885B-83F9-C2A9-D5A2-D1273BBF1C3D}"/>
              </a:ext>
            </a:extLst>
          </p:cNvPr>
          <p:cNvSpPr/>
          <p:nvPr/>
        </p:nvSpPr>
        <p:spPr>
          <a:xfrm>
            <a:off x="8670511" y="2744600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accent3"/>
                </a:solidFill>
              </a:rPr>
              <a:t>Enter Your Title</a:t>
            </a:r>
            <a:endParaRPr lang="en-US" sz="1600" dirty="0">
              <a:solidFill>
                <a:schemeClr val="accent3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3DFBB21-E442-23D1-83EE-02D7C8DD6CDC}"/>
              </a:ext>
            </a:extLst>
          </p:cNvPr>
          <p:cNvSpPr/>
          <p:nvPr/>
        </p:nvSpPr>
        <p:spPr>
          <a:xfrm>
            <a:off x="8670511" y="3876896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accent4"/>
                </a:solidFill>
              </a:rPr>
              <a:t>Enter Your Title</a:t>
            </a:r>
            <a:endParaRPr lang="en-US" sz="1600" dirty="0">
              <a:solidFill>
                <a:schemeClr val="accent4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C28728A-14CD-1114-2542-822062C01E45}"/>
              </a:ext>
            </a:extLst>
          </p:cNvPr>
          <p:cNvSpPr/>
          <p:nvPr/>
        </p:nvSpPr>
        <p:spPr>
          <a:xfrm>
            <a:off x="8670511" y="5009193"/>
            <a:ext cx="3003923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accent5"/>
                </a:solidFill>
              </a:rPr>
              <a:t>Enter Your Title</a:t>
            </a:r>
            <a:endParaRPr lang="en-US" sz="1600" dirty="0">
              <a:solidFill>
                <a:schemeClr val="accent5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dirty="0"/>
              <a:t>This is a sample text. You simply add your own text and description here. 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B90C23B-22CE-95A2-8D12-B4B7666A443C}"/>
              </a:ext>
            </a:extLst>
          </p:cNvPr>
          <p:cNvGrpSpPr/>
          <p:nvPr/>
        </p:nvGrpSpPr>
        <p:grpSpPr>
          <a:xfrm>
            <a:off x="6525387" y="5043035"/>
            <a:ext cx="531221" cy="531936"/>
            <a:chOff x="2897188" y="4360862"/>
            <a:chExt cx="1173162" cy="1174751"/>
          </a:xfrm>
          <a:solidFill>
            <a:schemeClr val="bg1"/>
          </a:solidFill>
        </p:grpSpPr>
        <p:sp>
          <p:nvSpPr>
            <p:cNvPr id="21" name="Freeform 202">
              <a:extLst>
                <a:ext uri="{FF2B5EF4-FFF2-40B4-BE49-F238E27FC236}">
                  <a16:creationId xmlns:a16="http://schemas.microsoft.com/office/drawing/2014/main" id="{86BB4DAB-2AA9-CD89-DD70-D0F87DF687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2775" y="4635500"/>
              <a:ext cx="625475" cy="625475"/>
            </a:xfrm>
            <a:custGeom>
              <a:avLst/>
              <a:gdLst>
                <a:gd name="T0" fmla="*/ 1024 w 1024"/>
                <a:gd name="T1" fmla="*/ 512 h 1024"/>
                <a:gd name="T2" fmla="*/ 0 w 1024"/>
                <a:gd name="T3" fmla="*/ 512 h 1024"/>
                <a:gd name="T4" fmla="*/ 958 w 1024"/>
                <a:gd name="T5" fmla="*/ 480 h 1024"/>
                <a:gd name="T6" fmla="*/ 750 w 1024"/>
                <a:gd name="T7" fmla="*/ 288 h 1024"/>
                <a:gd name="T8" fmla="*/ 958 w 1024"/>
                <a:gd name="T9" fmla="*/ 480 h 1024"/>
                <a:gd name="T10" fmla="*/ 480 w 1024"/>
                <a:gd name="T11" fmla="*/ 953 h 1024"/>
                <a:gd name="T12" fmla="*/ 480 w 1024"/>
                <a:gd name="T13" fmla="*/ 800 h 1024"/>
                <a:gd name="T14" fmla="*/ 313 w 1024"/>
                <a:gd name="T15" fmla="*/ 544 h 1024"/>
                <a:gd name="T16" fmla="*/ 480 w 1024"/>
                <a:gd name="T17" fmla="*/ 736 h 1024"/>
                <a:gd name="T18" fmla="*/ 544 w 1024"/>
                <a:gd name="T19" fmla="*/ 953 h 1024"/>
                <a:gd name="T20" fmla="*/ 664 w 1024"/>
                <a:gd name="T21" fmla="*/ 800 h 1024"/>
                <a:gd name="T22" fmla="*/ 544 w 1024"/>
                <a:gd name="T23" fmla="*/ 736 h 1024"/>
                <a:gd name="T24" fmla="*/ 711 w 1024"/>
                <a:gd name="T25" fmla="*/ 544 h 1024"/>
                <a:gd name="T26" fmla="*/ 544 w 1024"/>
                <a:gd name="T27" fmla="*/ 736 h 1024"/>
                <a:gd name="T28" fmla="*/ 958 w 1024"/>
                <a:gd name="T29" fmla="*/ 544 h 1024"/>
                <a:gd name="T30" fmla="*/ 750 w 1024"/>
                <a:gd name="T31" fmla="*/ 736 h 1024"/>
                <a:gd name="T32" fmla="*/ 711 w 1024"/>
                <a:gd name="T33" fmla="*/ 480 h 1024"/>
                <a:gd name="T34" fmla="*/ 544 w 1024"/>
                <a:gd name="T35" fmla="*/ 288 h 1024"/>
                <a:gd name="T36" fmla="*/ 711 w 1024"/>
                <a:gd name="T37" fmla="*/ 480 h 1024"/>
                <a:gd name="T38" fmla="*/ 544 w 1024"/>
                <a:gd name="T39" fmla="*/ 70 h 1024"/>
                <a:gd name="T40" fmla="*/ 544 w 1024"/>
                <a:gd name="T41" fmla="*/ 224 h 1024"/>
                <a:gd name="T42" fmla="*/ 480 w 1024"/>
                <a:gd name="T43" fmla="*/ 224 h 1024"/>
                <a:gd name="T44" fmla="*/ 480 w 1024"/>
                <a:gd name="T45" fmla="*/ 70 h 1024"/>
                <a:gd name="T46" fmla="*/ 480 w 1024"/>
                <a:gd name="T47" fmla="*/ 480 h 1024"/>
                <a:gd name="T48" fmla="*/ 339 w 1024"/>
                <a:gd name="T49" fmla="*/ 288 h 1024"/>
                <a:gd name="T50" fmla="*/ 249 w 1024"/>
                <a:gd name="T51" fmla="*/ 480 h 1024"/>
                <a:gd name="T52" fmla="*/ 125 w 1024"/>
                <a:gd name="T53" fmla="*/ 288 h 1024"/>
                <a:gd name="T54" fmla="*/ 249 w 1024"/>
                <a:gd name="T55" fmla="*/ 480 h 1024"/>
                <a:gd name="T56" fmla="*/ 274 w 1024"/>
                <a:gd name="T57" fmla="*/ 736 h 1024"/>
                <a:gd name="T58" fmla="*/ 66 w 1024"/>
                <a:gd name="T59" fmla="*/ 544 h 1024"/>
                <a:gd name="T60" fmla="*/ 169 w 1024"/>
                <a:gd name="T61" fmla="*/ 800 h 1024"/>
                <a:gd name="T62" fmla="*/ 360 w 1024"/>
                <a:gd name="T63" fmla="*/ 933 h 1024"/>
                <a:gd name="T64" fmla="*/ 664 w 1024"/>
                <a:gd name="T65" fmla="*/ 933 h 1024"/>
                <a:gd name="T66" fmla="*/ 855 w 1024"/>
                <a:gd name="T67" fmla="*/ 800 h 1024"/>
                <a:gd name="T68" fmla="*/ 855 w 1024"/>
                <a:gd name="T69" fmla="*/ 224 h 1024"/>
                <a:gd name="T70" fmla="*/ 664 w 1024"/>
                <a:gd name="T71" fmla="*/ 91 h 1024"/>
                <a:gd name="T72" fmla="*/ 360 w 1024"/>
                <a:gd name="T73" fmla="*/ 91 h 1024"/>
                <a:gd name="T74" fmla="*/ 169 w 1024"/>
                <a:gd name="T75" fmla="*/ 224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24" h="1024">
                  <a:moveTo>
                    <a:pt x="512" y="1024"/>
                  </a:moveTo>
                  <a:cubicBezTo>
                    <a:pt x="795" y="1024"/>
                    <a:pt x="1024" y="794"/>
                    <a:pt x="1024" y="512"/>
                  </a:cubicBezTo>
                  <a:cubicBezTo>
                    <a:pt x="1024" y="229"/>
                    <a:pt x="795" y="0"/>
                    <a:pt x="512" y="0"/>
                  </a:cubicBezTo>
                  <a:cubicBezTo>
                    <a:pt x="229" y="0"/>
                    <a:pt x="0" y="229"/>
                    <a:pt x="0" y="512"/>
                  </a:cubicBezTo>
                  <a:cubicBezTo>
                    <a:pt x="0" y="794"/>
                    <a:pt x="229" y="1023"/>
                    <a:pt x="512" y="1024"/>
                  </a:cubicBezTo>
                  <a:moveTo>
                    <a:pt x="958" y="480"/>
                  </a:moveTo>
                  <a:cubicBezTo>
                    <a:pt x="775" y="480"/>
                    <a:pt x="775" y="480"/>
                    <a:pt x="775" y="480"/>
                  </a:cubicBezTo>
                  <a:cubicBezTo>
                    <a:pt x="773" y="415"/>
                    <a:pt x="765" y="351"/>
                    <a:pt x="750" y="288"/>
                  </a:cubicBezTo>
                  <a:cubicBezTo>
                    <a:pt x="899" y="288"/>
                    <a:pt x="899" y="288"/>
                    <a:pt x="899" y="288"/>
                  </a:cubicBezTo>
                  <a:cubicBezTo>
                    <a:pt x="933" y="346"/>
                    <a:pt x="954" y="412"/>
                    <a:pt x="958" y="480"/>
                  </a:cubicBezTo>
                  <a:moveTo>
                    <a:pt x="480" y="800"/>
                  </a:moveTo>
                  <a:cubicBezTo>
                    <a:pt x="480" y="953"/>
                    <a:pt x="480" y="953"/>
                    <a:pt x="480" y="953"/>
                  </a:cubicBezTo>
                  <a:cubicBezTo>
                    <a:pt x="435" y="935"/>
                    <a:pt x="392" y="881"/>
                    <a:pt x="360" y="800"/>
                  </a:cubicBezTo>
                  <a:lnTo>
                    <a:pt x="480" y="800"/>
                  </a:lnTo>
                  <a:close/>
                  <a:moveTo>
                    <a:pt x="339" y="736"/>
                  </a:moveTo>
                  <a:cubicBezTo>
                    <a:pt x="323" y="673"/>
                    <a:pt x="314" y="608"/>
                    <a:pt x="313" y="544"/>
                  </a:cubicBezTo>
                  <a:cubicBezTo>
                    <a:pt x="480" y="544"/>
                    <a:pt x="480" y="544"/>
                    <a:pt x="480" y="544"/>
                  </a:cubicBezTo>
                  <a:cubicBezTo>
                    <a:pt x="480" y="736"/>
                    <a:pt x="480" y="736"/>
                    <a:pt x="480" y="736"/>
                  </a:cubicBezTo>
                  <a:lnTo>
                    <a:pt x="339" y="736"/>
                  </a:lnTo>
                  <a:close/>
                  <a:moveTo>
                    <a:pt x="544" y="953"/>
                  </a:moveTo>
                  <a:cubicBezTo>
                    <a:pt x="544" y="800"/>
                    <a:pt x="544" y="800"/>
                    <a:pt x="544" y="800"/>
                  </a:cubicBezTo>
                  <a:cubicBezTo>
                    <a:pt x="664" y="800"/>
                    <a:pt x="664" y="800"/>
                    <a:pt x="664" y="800"/>
                  </a:cubicBezTo>
                  <a:cubicBezTo>
                    <a:pt x="632" y="881"/>
                    <a:pt x="589" y="935"/>
                    <a:pt x="544" y="953"/>
                  </a:cubicBezTo>
                  <a:moveTo>
                    <a:pt x="544" y="736"/>
                  </a:moveTo>
                  <a:cubicBezTo>
                    <a:pt x="544" y="544"/>
                    <a:pt x="544" y="544"/>
                    <a:pt x="544" y="544"/>
                  </a:cubicBezTo>
                  <a:cubicBezTo>
                    <a:pt x="711" y="544"/>
                    <a:pt x="711" y="544"/>
                    <a:pt x="711" y="544"/>
                  </a:cubicBezTo>
                  <a:cubicBezTo>
                    <a:pt x="710" y="608"/>
                    <a:pt x="701" y="673"/>
                    <a:pt x="685" y="736"/>
                  </a:cubicBezTo>
                  <a:lnTo>
                    <a:pt x="544" y="736"/>
                  </a:lnTo>
                  <a:close/>
                  <a:moveTo>
                    <a:pt x="775" y="544"/>
                  </a:moveTo>
                  <a:cubicBezTo>
                    <a:pt x="958" y="544"/>
                    <a:pt x="958" y="544"/>
                    <a:pt x="958" y="544"/>
                  </a:cubicBezTo>
                  <a:cubicBezTo>
                    <a:pt x="954" y="611"/>
                    <a:pt x="933" y="677"/>
                    <a:pt x="899" y="736"/>
                  </a:cubicBezTo>
                  <a:cubicBezTo>
                    <a:pt x="750" y="736"/>
                    <a:pt x="750" y="736"/>
                    <a:pt x="750" y="736"/>
                  </a:cubicBezTo>
                  <a:cubicBezTo>
                    <a:pt x="765" y="673"/>
                    <a:pt x="773" y="608"/>
                    <a:pt x="775" y="544"/>
                  </a:cubicBezTo>
                  <a:moveTo>
                    <a:pt x="711" y="480"/>
                  </a:moveTo>
                  <a:cubicBezTo>
                    <a:pt x="544" y="480"/>
                    <a:pt x="544" y="480"/>
                    <a:pt x="544" y="480"/>
                  </a:cubicBezTo>
                  <a:cubicBezTo>
                    <a:pt x="544" y="288"/>
                    <a:pt x="544" y="288"/>
                    <a:pt x="544" y="288"/>
                  </a:cubicBezTo>
                  <a:cubicBezTo>
                    <a:pt x="685" y="288"/>
                    <a:pt x="685" y="288"/>
                    <a:pt x="685" y="288"/>
                  </a:cubicBezTo>
                  <a:cubicBezTo>
                    <a:pt x="701" y="350"/>
                    <a:pt x="710" y="415"/>
                    <a:pt x="711" y="480"/>
                  </a:cubicBezTo>
                  <a:moveTo>
                    <a:pt x="544" y="224"/>
                  </a:moveTo>
                  <a:cubicBezTo>
                    <a:pt x="544" y="70"/>
                    <a:pt x="544" y="70"/>
                    <a:pt x="544" y="70"/>
                  </a:cubicBezTo>
                  <a:cubicBezTo>
                    <a:pt x="589" y="88"/>
                    <a:pt x="632" y="142"/>
                    <a:pt x="664" y="224"/>
                  </a:cubicBezTo>
                  <a:lnTo>
                    <a:pt x="544" y="224"/>
                  </a:lnTo>
                  <a:close/>
                  <a:moveTo>
                    <a:pt x="480" y="70"/>
                  </a:moveTo>
                  <a:cubicBezTo>
                    <a:pt x="480" y="224"/>
                    <a:pt x="480" y="224"/>
                    <a:pt x="480" y="224"/>
                  </a:cubicBezTo>
                  <a:cubicBezTo>
                    <a:pt x="360" y="224"/>
                    <a:pt x="360" y="224"/>
                    <a:pt x="360" y="224"/>
                  </a:cubicBezTo>
                  <a:cubicBezTo>
                    <a:pt x="392" y="142"/>
                    <a:pt x="435" y="88"/>
                    <a:pt x="480" y="70"/>
                  </a:cubicBezTo>
                  <a:moveTo>
                    <a:pt x="480" y="288"/>
                  </a:moveTo>
                  <a:cubicBezTo>
                    <a:pt x="480" y="480"/>
                    <a:pt x="480" y="480"/>
                    <a:pt x="480" y="480"/>
                  </a:cubicBezTo>
                  <a:cubicBezTo>
                    <a:pt x="313" y="480"/>
                    <a:pt x="313" y="480"/>
                    <a:pt x="313" y="480"/>
                  </a:cubicBezTo>
                  <a:cubicBezTo>
                    <a:pt x="314" y="415"/>
                    <a:pt x="323" y="350"/>
                    <a:pt x="339" y="288"/>
                  </a:cubicBezTo>
                  <a:lnTo>
                    <a:pt x="480" y="288"/>
                  </a:lnTo>
                  <a:close/>
                  <a:moveTo>
                    <a:pt x="249" y="480"/>
                  </a:moveTo>
                  <a:cubicBezTo>
                    <a:pt x="66" y="480"/>
                    <a:pt x="66" y="480"/>
                    <a:pt x="66" y="480"/>
                  </a:cubicBezTo>
                  <a:cubicBezTo>
                    <a:pt x="70" y="412"/>
                    <a:pt x="91" y="346"/>
                    <a:pt x="125" y="288"/>
                  </a:cubicBezTo>
                  <a:cubicBezTo>
                    <a:pt x="274" y="288"/>
                    <a:pt x="274" y="288"/>
                    <a:pt x="274" y="288"/>
                  </a:cubicBezTo>
                  <a:cubicBezTo>
                    <a:pt x="259" y="351"/>
                    <a:pt x="251" y="415"/>
                    <a:pt x="249" y="480"/>
                  </a:cubicBezTo>
                  <a:moveTo>
                    <a:pt x="249" y="544"/>
                  </a:moveTo>
                  <a:cubicBezTo>
                    <a:pt x="251" y="608"/>
                    <a:pt x="259" y="673"/>
                    <a:pt x="274" y="736"/>
                  </a:cubicBezTo>
                  <a:cubicBezTo>
                    <a:pt x="125" y="736"/>
                    <a:pt x="125" y="736"/>
                    <a:pt x="125" y="736"/>
                  </a:cubicBezTo>
                  <a:cubicBezTo>
                    <a:pt x="91" y="677"/>
                    <a:pt x="70" y="611"/>
                    <a:pt x="66" y="544"/>
                  </a:cubicBezTo>
                  <a:lnTo>
                    <a:pt x="249" y="544"/>
                  </a:lnTo>
                  <a:close/>
                  <a:moveTo>
                    <a:pt x="169" y="800"/>
                  </a:moveTo>
                  <a:cubicBezTo>
                    <a:pt x="293" y="800"/>
                    <a:pt x="293" y="800"/>
                    <a:pt x="293" y="800"/>
                  </a:cubicBezTo>
                  <a:cubicBezTo>
                    <a:pt x="308" y="847"/>
                    <a:pt x="331" y="892"/>
                    <a:pt x="360" y="933"/>
                  </a:cubicBezTo>
                  <a:cubicBezTo>
                    <a:pt x="286" y="906"/>
                    <a:pt x="220" y="860"/>
                    <a:pt x="169" y="800"/>
                  </a:cubicBezTo>
                  <a:moveTo>
                    <a:pt x="664" y="933"/>
                  </a:moveTo>
                  <a:cubicBezTo>
                    <a:pt x="693" y="892"/>
                    <a:pt x="716" y="847"/>
                    <a:pt x="731" y="800"/>
                  </a:cubicBezTo>
                  <a:cubicBezTo>
                    <a:pt x="855" y="800"/>
                    <a:pt x="855" y="800"/>
                    <a:pt x="855" y="800"/>
                  </a:cubicBezTo>
                  <a:cubicBezTo>
                    <a:pt x="804" y="860"/>
                    <a:pt x="738" y="906"/>
                    <a:pt x="664" y="933"/>
                  </a:cubicBezTo>
                  <a:moveTo>
                    <a:pt x="855" y="224"/>
                  </a:moveTo>
                  <a:cubicBezTo>
                    <a:pt x="731" y="224"/>
                    <a:pt x="731" y="224"/>
                    <a:pt x="731" y="224"/>
                  </a:cubicBezTo>
                  <a:cubicBezTo>
                    <a:pt x="716" y="176"/>
                    <a:pt x="693" y="131"/>
                    <a:pt x="664" y="91"/>
                  </a:cubicBezTo>
                  <a:cubicBezTo>
                    <a:pt x="738" y="117"/>
                    <a:pt x="804" y="163"/>
                    <a:pt x="855" y="224"/>
                  </a:cubicBezTo>
                  <a:moveTo>
                    <a:pt x="360" y="91"/>
                  </a:moveTo>
                  <a:cubicBezTo>
                    <a:pt x="331" y="131"/>
                    <a:pt x="308" y="176"/>
                    <a:pt x="293" y="224"/>
                  </a:cubicBezTo>
                  <a:cubicBezTo>
                    <a:pt x="169" y="224"/>
                    <a:pt x="169" y="224"/>
                    <a:pt x="169" y="224"/>
                  </a:cubicBezTo>
                  <a:cubicBezTo>
                    <a:pt x="220" y="163"/>
                    <a:pt x="286" y="117"/>
                    <a:pt x="360" y="9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2" name="Freeform 203">
              <a:extLst>
                <a:ext uri="{FF2B5EF4-FFF2-40B4-BE49-F238E27FC236}">
                  <a16:creationId xmlns:a16="http://schemas.microsoft.com/office/drawing/2014/main" id="{27D87AED-C9EC-98D4-B321-377541D54F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90875" y="5280025"/>
              <a:ext cx="590550" cy="255588"/>
            </a:xfrm>
            <a:custGeom>
              <a:avLst/>
              <a:gdLst>
                <a:gd name="T0" fmla="*/ 32 w 966"/>
                <a:gd name="T1" fmla="*/ 320 h 416"/>
                <a:gd name="T2" fmla="*/ 160 w 966"/>
                <a:gd name="T3" fmla="*/ 320 h 416"/>
                <a:gd name="T4" fmla="*/ 192 w 966"/>
                <a:gd name="T5" fmla="*/ 288 h 416"/>
                <a:gd name="T6" fmla="*/ 192 w 966"/>
                <a:gd name="T7" fmla="*/ 288 h 416"/>
                <a:gd name="T8" fmla="*/ 216 w 966"/>
                <a:gd name="T9" fmla="*/ 288 h 416"/>
                <a:gd name="T10" fmla="*/ 463 w 966"/>
                <a:gd name="T11" fmla="*/ 412 h 416"/>
                <a:gd name="T12" fmla="*/ 478 w 966"/>
                <a:gd name="T13" fmla="*/ 416 h 416"/>
                <a:gd name="T14" fmla="*/ 494 w 966"/>
                <a:gd name="T15" fmla="*/ 411 h 416"/>
                <a:gd name="T16" fmla="*/ 926 w 966"/>
                <a:gd name="T17" fmla="*/ 144 h 416"/>
                <a:gd name="T18" fmla="*/ 958 w 966"/>
                <a:gd name="T19" fmla="*/ 71 h 416"/>
                <a:gd name="T20" fmla="*/ 891 w 966"/>
                <a:gd name="T21" fmla="*/ 22 h 416"/>
                <a:gd name="T22" fmla="*/ 890 w 966"/>
                <a:gd name="T23" fmla="*/ 22 h 416"/>
                <a:gd name="T24" fmla="*/ 414 w 966"/>
                <a:gd name="T25" fmla="*/ 64 h 416"/>
                <a:gd name="T26" fmla="*/ 368 w 966"/>
                <a:gd name="T27" fmla="*/ 36 h 416"/>
                <a:gd name="T28" fmla="*/ 352 w 966"/>
                <a:gd name="T29" fmla="*/ 32 h 416"/>
                <a:gd name="T30" fmla="*/ 192 w 966"/>
                <a:gd name="T31" fmla="*/ 32 h 416"/>
                <a:gd name="T32" fmla="*/ 160 w 966"/>
                <a:gd name="T33" fmla="*/ 0 h 416"/>
                <a:gd name="T34" fmla="*/ 160 w 966"/>
                <a:gd name="T35" fmla="*/ 0 h 416"/>
                <a:gd name="T36" fmla="*/ 32 w 966"/>
                <a:gd name="T37" fmla="*/ 0 h 416"/>
                <a:gd name="T38" fmla="*/ 0 w 966"/>
                <a:gd name="T39" fmla="*/ 32 h 416"/>
                <a:gd name="T40" fmla="*/ 0 w 966"/>
                <a:gd name="T41" fmla="*/ 32 h 416"/>
                <a:gd name="T42" fmla="*/ 0 w 966"/>
                <a:gd name="T43" fmla="*/ 288 h 416"/>
                <a:gd name="T44" fmla="*/ 32 w 966"/>
                <a:gd name="T45" fmla="*/ 320 h 416"/>
                <a:gd name="T46" fmla="*/ 343 w 966"/>
                <a:gd name="T47" fmla="*/ 96 h 416"/>
                <a:gd name="T48" fmla="*/ 445 w 966"/>
                <a:gd name="T49" fmla="*/ 157 h 416"/>
                <a:gd name="T50" fmla="*/ 453 w 966"/>
                <a:gd name="T51" fmla="*/ 190 h 416"/>
                <a:gd name="T52" fmla="*/ 453 w 966"/>
                <a:gd name="T53" fmla="*/ 191 h 416"/>
                <a:gd name="T54" fmla="*/ 419 w 966"/>
                <a:gd name="T55" fmla="*/ 198 h 416"/>
                <a:gd name="T56" fmla="*/ 370 w 966"/>
                <a:gd name="T57" fmla="*/ 165 h 416"/>
                <a:gd name="T58" fmla="*/ 334 w 966"/>
                <a:gd name="T59" fmla="*/ 218 h 416"/>
                <a:gd name="T60" fmla="*/ 383 w 966"/>
                <a:gd name="T61" fmla="*/ 251 h 416"/>
                <a:gd name="T62" fmla="*/ 432 w 966"/>
                <a:gd name="T63" fmla="*/ 266 h 416"/>
                <a:gd name="T64" fmla="*/ 450 w 966"/>
                <a:gd name="T65" fmla="*/ 264 h 416"/>
                <a:gd name="T66" fmla="*/ 506 w 966"/>
                <a:gd name="T67" fmla="*/ 226 h 416"/>
                <a:gd name="T68" fmla="*/ 519 w 966"/>
                <a:gd name="T69" fmla="*/ 158 h 416"/>
                <a:gd name="T70" fmla="*/ 499 w 966"/>
                <a:gd name="T71" fmla="*/ 120 h 416"/>
                <a:gd name="T72" fmla="*/ 895 w 966"/>
                <a:gd name="T73" fmla="*/ 86 h 416"/>
                <a:gd name="T74" fmla="*/ 894 w 966"/>
                <a:gd name="T75" fmla="*/ 89 h 416"/>
                <a:gd name="T76" fmla="*/ 476 w 966"/>
                <a:gd name="T77" fmla="*/ 347 h 416"/>
                <a:gd name="T78" fmla="*/ 238 w 966"/>
                <a:gd name="T79" fmla="*/ 227 h 416"/>
                <a:gd name="T80" fmla="*/ 224 w 966"/>
                <a:gd name="T81" fmla="*/ 224 h 416"/>
                <a:gd name="T82" fmla="*/ 192 w 966"/>
                <a:gd name="T83" fmla="*/ 224 h 416"/>
                <a:gd name="T84" fmla="*/ 192 w 966"/>
                <a:gd name="T85" fmla="*/ 96 h 416"/>
                <a:gd name="T86" fmla="*/ 343 w 966"/>
                <a:gd name="T87" fmla="*/ 96 h 416"/>
                <a:gd name="T88" fmla="*/ 64 w 966"/>
                <a:gd name="T89" fmla="*/ 64 h 416"/>
                <a:gd name="T90" fmla="*/ 128 w 966"/>
                <a:gd name="T91" fmla="*/ 64 h 416"/>
                <a:gd name="T92" fmla="*/ 128 w 966"/>
                <a:gd name="T93" fmla="*/ 256 h 416"/>
                <a:gd name="T94" fmla="*/ 64 w 966"/>
                <a:gd name="T95" fmla="*/ 256 h 416"/>
                <a:gd name="T96" fmla="*/ 64 w 966"/>
                <a:gd name="T97" fmla="*/ 64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66" h="416">
                  <a:moveTo>
                    <a:pt x="32" y="320"/>
                  </a:moveTo>
                  <a:cubicBezTo>
                    <a:pt x="160" y="320"/>
                    <a:pt x="160" y="320"/>
                    <a:pt x="160" y="320"/>
                  </a:cubicBezTo>
                  <a:cubicBezTo>
                    <a:pt x="178" y="320"/>
                    <a:pt x="192" y="305"/>
                    <a:pt x="192" y="288"/>
                  </a:cubicBezTo>
                  <a:cubicBezTo>
                    <a:pt x="192" y="288"/>
                    <a:pt x="192" y="288"/>
                    <a:pt x="192" y="288"/>
                  </a:cubicBezTo>
                  <a:cubicBezTo>
                    <a:pt x="216" y="288"/>
                    <a:pt x="216" y="288"/>
                    <a:pt x="216" y="288"/>
                  </a:cubicBezTo>
                  <a:cubicBezTo>
                    <a:pt x="463" y="412"/>
                    <a:pt x="463" y="412"/>
                    <a:pt x="463" y="412"/>
                  </a:cubicBezTo>
                  <a:cubicBezTo>
                    <a:pt x="468" y="414"/>
                    <a:pt x="473" y="416"/>
                    <a:pt x="478" y="416"/>
                  </a:cubicBezTo>
                  <a:cubicBezTo>
                    <a:pt x="484" y="416"/>
                    <a:pt x="489" y="414"/>
                    <a:pt x="494" y="411"/>
                  </a:cubicBezTo>
                  <a:cubicBezTo>
                    <a:pt x="926" y="144"/>
                    <a:pt x="926" y="144"/>
                    <a:pt x="926" y="144"/>
                  </a:cubicBezTo>
                  <a:cubicBezTo>
                    <a:pt x="953" y="130"/>
                    <a:pt x="966" y="100"/>
                    <a:pt x="958" y="71"/>
                  </a:cubicBezTo>
                  <a:cubicBezTo>
                    <a:pt x="950" y="41"/>
                    <a:pt x="922" y="20"/>
                    <a:pt x="891" y="22"/>
                  </a:cubicBezTo>
                  <a:cubicBezTo>
                    <a:pt x="890" y="22"/>
                    <a:pt x="890" y="22"/>
                    <a:pt x="890" y="22"/>
                  </a:cubicBezTo>
                  <a:cubicBezTo>
                    <a:pt x="414" y="64"/>
                    <a:pt x="414" y="64"/>
                    <a:pt x="414" y="64"/>
                  </a:cubicBezTo>
                  <a:cubicBezTo>
                    <a:pt x="368" y="36"/>
                    <a:pt x="368" y="36"/>
                    <a:pt x="368" y="36"/>
                  </a:cubicBezTo>
                  <a:cubicBezTo>
                    <a:pt x="364" y="33"/>
                    <a:pt x="358" y="32"/>
                    <a:pt x="352" y="32"/>
                  </a:cubicBezTo>
                  <a:cubicBezTo>
                    <a:pt x="192" y="32"/>
                    <a:pt x="192" y="32"/>
                    <a:pt x="192" y="32"/>
                  </a:cubicBezTo>
                  <a:cubicBezTo>
                    <a:pt x="192" y="14"/>
                    <a:pt x="178" y="0"/>
                    <a:pt x="160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0" y="305"/>
                    <a:pt x="14" y="320"/>
                    <a:pt x="32" y="320"/>
                  </a:cubicBezTo>
                  <a:close/>
                  <a:moveTo>
                    <a:pt x="343" y="96"/>
                  </a:moveTo>
                  <a:cubicBezTo>
                    <a:pt x="445" y="157"/>
                    <a:pt x="445" y="157"/>
                    <a:pt x="445" y="157"/>
                  </a:cubicBezTo>
                  <a:cubicBezTo>
                    <a:pt x="456" y="164"/>
                    <a:pt x="460" y="179"/>
                    <a:pt x="453" y="190"/>
                  </a:cubicBezTo>
                  <a:cubicBezTo>
                    <a:pt x="453" y="190"/>
                    <a:pt x="453" y="191"/>
                    <a:pt x="453" y="191"/>
                  </a:cubicBezTo>
                  <a:cubicBezTo>
                    <a:pt x="445" y="202"/>
                    <a:pt x="430" y="205"/>
                    <a:pt x="419" y="198"/>
                  </a:cubicBezTo>
                  <a:cubicBezTo>
                    <a:pt x="370" y="165"/>
                    <a:pt x="370" y="165"/>
                    <a:pt x="370" y="165"/>
                  </a:cubicBezTo>
                  <a:cubicBezTo>
                    <a:pt x="334" y="218"/>
                    <a:pt x="334" y="218"/>
                    <a:pt x="334" y="218"/>
                  </a:cubicBezTo>
                  <a:cubicBezTo>
                    <a:pt x="383" y="251"/>
                    <a:pt x="383" y="251"/>
                    <a:pt x="383" y="251"/>
                  </a:cubicBezTo>
                  <a:cubicBezTo>
                    <a:pt x="398" y="261"/>
                    <a:pt x="415" y="266"/>
                    <a:pt x="432" y="266"/>
                  </a:cubicBezTo>
                  <a:cubicBezTo>
                    <a:pt x="438" y="266"/>
                    <a:pt x="444" y="265"/>
                    <a:pt x="450" y="264"/>
                  </a:cubicBezTo>
                  <a:cubicBezTo>
                    <a:pt x="473" y="260"/>
                    <a:pt x="493" y="246"/>
                    <a:pt x="506" y="226"/>
                  </a:cubicBezTo>
                  <a:cubicBezTo>
                    <a:pt x="519" y="206"/>
                    <a:pt x="524" y="182"/>
                    <a:pt x="519" y="158"/>
                  </a:cubicBezTo>
                  <a:cubicBezTo>
                    <a:pt x="515" y="144"/>
                    <a:pt x="509" y="131"/>
                    <a:pt x="499" y="120"/>
                  </a:cubicBezTo>
                  <a:cubicBezTo>
                    <a:pt x="895" y="86"/>
                    <a:pt x="895" y="86"/>
                    <a:pt x="895" y="86"/>
                  </a:cubicBezTo>
                  <a:cubicBezTo>
                    <a:pt x="894" y="89"/>
                    <a:pt x="894" y="89"/>
                    <a:pt x="894" y="89"/>
                  </a:cubicBezTo>
                  <a:cubicBezTo>
                    <a:pt x="476" y="347"/>
                    <a:pt x="476" y="347"/>
                    <a:pt x="476" y="347"/>
                  </a:cubicBezTo>
                  <a:cubicBezTo>
                    <a:pt x="238" y="227"/>
                    <a:pt x="238" y="227"/>
                    <a:pt x="238" y="227"/>
                  </a:cubicBezTo>
                  <a:cubicBezTo>
                    <a:pt x="234" y="225"/>
                    <a:pt x="229" y="224"/>
                    <a:pt x="224" y="224"/>
                  </a:cubicBezTo>
                  <a:cubicBezTo>
                    <a:pt x="192" y="224"/>
                    <a:pt x="192" y="224"/>
                    <a:pt x="192" y="224"/>
                  </a:cubicBezTo>
                  <a:cubicBezTo>
                    <a:pt x="192" y="96"/>
                    <a:pt x="192" y="96"/>
                    <a:pt x="192" y="96"/>
                  </a:cubicBezTo>
                  <a:lnTo>
                    <a:pt x="343" y="96"/>
                  </a:lnTo>
                  <a:close/>
                  <a:moveTo>
                    <a:pt x="64" y="64"/>
                  </a:moveTo>
                  <a:cubicBezTo>
                    <a:pt x="128" y="64"/>
                    <a:pt x="128" y="64"/>
                    <a:pt x="128" y="64"/>
                  </a:cubicBezTo>
                  <a:cubicBezTo>
                    <a:pt x="128" y="256"/>
                    <a:pt x="128" y="256"/>
                    <a:pt x="128" y="256"/>
                  </a:cubicBezTo>
                  <a:cubicBezTo>
                    <a:pt x="64" y="256"/>
                    <a:pt x="64" y="256"/>
                    <a:pt x="64" y="256"/>
                  </a:cubicBezTo>
                  <a:lnTo>
                    <a:pt x="64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3" name="Freeform 204">
              <a:extLst>
                <a:ext uri="{FF2B5EF4-FFF2-40B4-BE49-F238E27FC236}">
                  <a16:creationId xmlns:a16="http://schemas.microsoft.com/office/drawing/2014/main" id="{91D963A7-5D81-4E1C-F35E-3A8F9A74B7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87700" y="4360862"/>
              <a:ext cx="590550" cy="255588"/>
            </a:xfrm>
            <a:custGeom>
              <a:avLst/>
              <a:gdLst>
                <a:gd name="T0" fmla="*/ 774 w 966"/>
                <a:gd name="T1" fmla="*/ 130 h 418"/>
                <a:gd name="T2" fmla="*/ 750 w 966"/>
                <a:gd name="T3" fmla="*/ 130 h 418"/>
                <a:gd name="T4" fmla="*/ 503 w 966"/>
                <a:gd name="T5" fmla="*/ 5 h 418"/>
                <a:gd name="T6" fmla="*/ 472 w 966"/>
                <a:gd name="T7" fmla="*/ 6 h 418"/>
                <a:gd name="T8" fmla="*/ 40 w 966"/>
                <a:gd name="T9" fmla="*/ 273 h 418"/>
                <a:gd name="T10" fmla="*/ 8 w 966"/>
                <a:gd name="T11" fmla="*/ 346 h 418"/>
                <a:gd name="T12" fmla="*/ 75 w 966"/>
                <a:gd name="T13" fmla="*/ 395 h 418"/>
                <a:gd name="T14" fmla="*/ 76 w 966"/>
                <a:gd name="T15" fmla="*/ 395 h 418"/>
                <a:gd name="T16" fmla="*/ 552 w 966"/>
                <a:gd name="T17" fmla="*/ 354 h 418"/>
                <a:gd name="T18" fmla="*/ 598 w 966"/>
                <a:gd name="T19" fmla="*/ 381 h 418"/>
                <a:gd name="T20" fmla="*/ 614 w 966"/>
                <a:gd name="T21" fmla="*/ 386 h 418"/>
                <a:gd name="T22" fmla="*/ 774 w 966"/>
                <a:gd name="T23" fmla="*/ 386 h 418"/>
                <a:gd name="T24" fmla="*/ 806 w 966"/>
                <a:gd name="T25" fmla="*/ 418 h 418"/>
                <a:gd name="T26" fmla="*/ 806 w 966"/>
                <a:gd name="T27" fmla="*/ 418 h 418"/>
                <a:gd name="T28" fmla="*/ 934 w 966"/>
                <a:gd name="T29" fmla="*/ 418 h 418"/>
                <a:gd name="T30" fmla="*/ 966 w 966"/>
                <a:gd name="T31" fmla="*/ 386 h 418"/>
                <a:gd name="T32" fmla="*/ 966 w 966"/>
                <a:gd name="T33" fmla="*/ 386 h 418"/>
                <a:gd name="T34" fmla="*/ 966 w 966"/>
                <a:gd name="T35" fmla="*/ 130 h 418"/>
                <a:gd name="T36" fmla="*/ 934 w 966"/>
                <a:gd name="T37" fmla="*/ 98 h 418"/>
                <a:gd name="T38" fmla="*/ 934 w 966"/>
                <a:gd name="T39" fmla="*/ 98 h 418"/>
                <a:gd name="T40" fmla="*/ 806 w 966"/>
                <a:gd name="T41" fmla="*/ 98 h 418"/>
                <a:gd name="T42" fmla="*/ 774 w 966"/>
                <a:gd name="T43" fmla="*/ 130 h 418"/>
                <a:gd name="T44" fmla="*/ 623 w 966"/>
                <a:gd name="T45" fmla="*/ 322 h 418"/>
                <a:gd name="T46" fmla="*/ 521 w 966"/>
                <a:gd name="T47" fmla="*/ 260 h 418"/>
                <a:gd name="T48" fmla="*/ 513 w 966"/>
                <a:gd name="T49" fmla="*/ 227 h 418"/>
                <a:gd name="T50" fmla="*/ 513 w 966"/>
                <a:gd name="T51" fmla="*/ 226 h 418"/>
                <a:gd name="T52" fmla="*/ 547 w 966"/>
                <a:gd name="T53" fmla="*/ 219 h 418"/>
                <a:gd name="T54" fmla="*/ 596 w 966"/>
                <a:gd name="T55" fmla="*/ 252 h 418"/>
                <a:gd name="T56" fmla="*/ 632 w 966"/>
                <a:gd name="T57" fmla="*/ 199 h 418"/>
                <a:gd name="T58" fmla="*/ 583 w 966"/>
                <a:gd name="T59" fmla="*/ 166 h 418"/>
                <a:gd name="T60" fmla="*/ 460 w 966"/>
                <a:gd name="T61" fmla="*/ 191 h 418"/>
                <a:gd name="T62" fmla="*/ 447 w 966"/>
                <a:gd name="T63" fmla="*/ 259 h 418"/>
                <a:gd name="T64" fmla="*/ 467 w 966"/>
                <a:gd name="T65" fmla="*/ 297 h 418"/>
                <a:gd name="T66" fmla="*/ 71 w 966"/>
                <a:gd name="T67" fmla="*/ 331 h 418"/>
                <a:gd name="T68" fmla="*/ 72 w 966"/>
                <a:gd name="T69" fmla="*/ 328 h 418"/>
                <a:gd name="T70" fmla="*/ 490 w 966"/>
                <a:gd name="T71" fmla="*/ 70 h 418"/>
                <a:gd name="T72" fmla="*/ 728 w 966"/>
                <a:gd name="T73" fmla="*/ 190 h 418"/>
                <a:gd name="T74" fmla="*/ 742 w 966"/>
                <a:gd name="T75" fmla="*/ 194 h 418"/>
                <a:gd name="T76" fmla="*/ 774 w 966"/>
                <a:gd name="T77" fmla="*/ 194 h 418"/>
                <a:gd name="T78" fmla="*/ 774 w 966"/>
                <a:gd name="T79" fmla="*/ 322 h 418"/>
                <a:gd name="T80" fmla="*/ 623 w 966"/>
                <a:gd name="T81" fmla="*/ 322 h 418"/>
                <a:gd name="T82" fmla="*/ 838 w 966"/>
                <a:gd name="T83" fmla="*/ 162 h 418"/>
                <a:gd name="T84" fmla="*/ 902 w 966"/>
                <a:gd name="T85" fmla="*/ 162 h 418"/>
                <a:gd name="T86" fmla="*/ 902 w 966"/>
                <a:gd name="T87" fmla="*/ 354 h 418"/>
                <a:gd name="T88" fmla="*/ 838 w 966"/>
                <a:gd name="T89" fmla="*/ 354 h 418"/>
                <a:gd name="T90" fmla="*/ 838 w 966"/>
                <a:gd name="T91" fmla="*/ 162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66" h="418">
                  <a:moveTo>
                    <a:pt x="774" y="130"/>
                  </a:moveTo>
                  <a:cubicBezTo>
                    <a:pt x="750" y="130"/>
                    <a:pt x="750" y="130"/>
                    <a:pt x="750" y="130"/>
                  </a:cubicBezTo>
                  <a:cubicBezTo>
                    <a:pt x="503" y="5"/>
                    <a:pt x="503" y="5"/>
                    <a:pt x="503" y="5"/>
                  </a:cubicBezTo>
                  <a:cubicBezTo>
                    <a:pt x="493" y="0"/>
                    <a:pt x="481" y="0"/>
                    <a:pt x="472" y="6"/>
                  </a:cubicBezTo>
                  <a:cubicBezTo>
                    <a:pt x="40" y="273"/>
                    <a:pt x="40" y="273"/>
                    <a:pt x="40" y="273"/>
                  </a:cubicBezTo>
                  <a:cubicBezTo>
                    <a:pt x="13" y="287"/>
                    <a:pt x="0" y="317"/>
                    <a:pt x="8" y="346"/>
                  </a:cubicBezTo>
                  <a:cubicBezTo>
                    <a:pt x="16" y="376"/>
                    <a:pt x="44" y="397"/>
                    <a:pt x="75" y="395"/>
                  </a:cubicBezTo>
                  <a:cubicBezTo>
                    <a:pt x="76" y="395"/>
                    <a:pt x="76" y="395"/>
                    <a:pt x="76" y="395"/>
                  </a:cubicBezTo>
                  <a:cubicBezTo>
                    <a:pt x="552" y="354"/>
                    <a:pt x="552" y="354"/>
                    <a:pt x="552" y="354"/>
                  </a:cubicBezTo>
                  <a:cubicBezTo>
                    <a:pt x="598" y="381"/>
                    <a:pt x="598" y="381"/>
                    <a:pt x="598" y="381"/>
                  </a:cubicBezTo>
                  <a:cubicBezTo>
                    <a:pt x="603" y="384"/>
                    <a:pt x="608" y="386"/>
                    <a:pt x="614" y="386"/>
                  </a:cubicBezTo>
                  <a:cubicBezTo>
                    <a:pt x="774" y="386"/>
                    <a:pt x="774" y="386"/>
                    <a:pt x="774" y="386"/>
                  </a:cubicBezTo>
                  <a:cubicBezTo>
                    <a:pt x="774" y="403"/>
                    <a:pt x="788" y="418"/>
                    <a:pt x="806" y="418"/>
                  </a:cubicBezTo>
                  <a:cubicBezTo>
                    <a:pt x="806" y="418"/>
                    <a:pt x="806" y="418"/>
                    <a:pt x="806" y="418"/>
                  </a:cubicBezTo>
                  <a:cubicBezTo>
                    <a:pt x="934" y="418"/>
                    <a:pt x="934" y="418"/>
                    <a:pt x="934" y="418"/>
                  </a:cubicBezTo>
                  <a:cubicBezTo>
                    <a:pt x="952" y="418"/>
                    <a:pt x="966" y="403"/>
                    <a:pt x="966" y="386"/>
                  </a:cubicBezTo>
                  <a:cubicBezTo>
                    <a:pt x="966" y="386"/>
                    <a:pt x="966" y="386"/>
                    <a:pt x="966" y="386"/>
                  </a:cubicBezTo>
                  <a:cubicBezTo>
                    <a:pt x="966" y="130"/>
                    <a:pt x="966" y="130"/>
                    <a:pt x="966" y="130"/>
                  </a:cubicBezTo>
                  <a:cubicBezTo>
                    <a:pt x="966" y="112"/>
                    <a:pt x="952" y="98"/>
                    <a:pt x="934" y="98"/>
                  </a:cubicBezTo>
                  <a:cubicBezTo>
                    <a:pt x="934" y="98"/>
                    <a:pt x="934" y="98"/>
                    <a:pt x="934" y="98"/>
                  </a:cubicBezTo>
                  <a:cubicBezTo>
                    <a:pt x="806" y="98"/>
                    <a:pt x="806" y="98"/>
                    <a:pt x="806" y="98"/>
                  </a:cubicBezTo>
                  <a:cubicBezTo>
                    <a:pt x="788" y="98"/>
                    <a:pt x="774" y="112"/>
                    <a:pt x="774" y="130"/>
                  </a:cubicBezTo>
                  <a:close/>
                  <a:moveTo>
                    <a:pt x="623" y="322"/>
                  </a:moveTo>
                  <a:cubicBezTo>
                    <a:pt x="521" y="260"/>
                    <a:pt x="521" y="260"/>
                    <a:pt x="521" y="260"/>
                  </a:cubicBezTo>
                  <a:cubicBezTo>
                    <a:pt x="510" y="254"/>
                    <a:pt x="506" y="239"/>
                    <a:pt x="513" y="227"/>
                  </a:cubicBezTo>
                  <a:cubicBezTo>
                    <a:pt x="513" y="227"/>
                    <a:pt x="513" y="226"/>
                    <a:pt x="513" y="226"/>
                  </a:cubicBezTo>
                  <a:cubicBezTo>
                    <a:pt x="521" y="215"/>
                    <a:pt x="536" y="212"/>
                    <a:pt x="547" y="219"/>
                  </a:cubicBezTo>
                  <a:cubicBezTo>
                    <a:pt x="596" y="252"/>
                    <a:pt x="596" y="252"/>
                    <a:pt x="596" y="252"/>
                  </a:cubicBezTo>
                  <a:cubicBezTo>
                    <a:pt x="632" y="199"/>
                    <a:pt x="632" y="199"/>
                    <a:pt x="632" y="199"/>
                  </a:cubicBezTo>
                  <a:cubicBezTo>
                    <a:pt x="583" y="166"/>
                    <a:pt x="583" y="166"/>
                    <a:pt x="583" y="166"/>
                  </a:cubicBezTo>
                  <a:cubicBezTo>
                    <a:pt x="542" y="139"/>
                    <a:pt x="487" y="150"/>
                    <a:pt x="460" y="191"/>
                  </a:cubicBezTo>
                  <a:cubicBezTo>
                    <a:pt x="447" y="211"/>
                    <a:pt x="442" y="236"/>
                    <a:pt x="447" y="259"/>
                  </a:cubicBezTo>
                  <a:cubicBezTo>
                    <a:pt x="451" y="273"/>
                    <a:pt x="457" y="286"/>
                    <a:pt x="467" y="297"/>
                  </a:cubicBezTo>
                  <a:cubicBezTo>
                    <a:pt x="71" y="331"/>
                    <a:pt x="71" y="331"/>
                    <a:pt x="71" y="331"/>
                  </a:cubicBezTo>
                  <a:cubicBezTo>
                    <a:pt x="72" y="328"/>
                    <a:pt x="72" y="328"/>
                    <a:pt x="72" y="328"/>
                  </a:cubicBezTo>
                  <a:cubicBezTo>
                    <a:pt x="490" y="70"/>
                    <a:pt x="490" y="70"/>
                    <a:pt x="490" y="70"/>
                  </a:cubicBezTo>
                  <a:cubicBezTo>
                    <a:pt x="728" y="190"/>
                    <a:pt x="728" y="190"/>
                    <a:pt x="728" y="190"/>
                  </a:cubicBezTo>
                  <a:cubicBezTo>
                    <a:pt x="732" y="192"/>
                    <a:pt x="737" y="194"/>
                    <a:pt x="742" y="194"/>
                  </a:cubicBezTo>
                  <a:cubicBezTo>
                    <a:pt x="774" y="194"/>
                    <a:pt x="774" y="194"/>
                    <a:pt x="774" y="194"/>
                  </a:cubicBezTo>
                  <a:cubicBezTo>
                    <a:pt x="774" y="322"/>
                    <a:pt x="774" y="322"/>
                    <a:pt x="774" y="322"/>
                  </a:cubicBezTo>
                  <a:lnTo>
                    <a:pt x="623" y="322"/>
                  </a:lnTo>
                  <a:close/>
                  <a:moveTo>
                    <a:pt x="838" y="162"/>
                  </a:moveTo>
                  <a:cubicBezTo>
                    <a:pt x="902" y="162"/>
                    <a:pt x="902" y="162"/>
                    <a:pt x="902" y="162"/>
                  </a:cubicBezTo>
                  <a:cubicBezTo>
                    <a:pt x="902" y="354"/>
                    <a:pt x="902" y="354"/>
                    <a:pt x="902" y="354"/>
                  </a:cubicBezTo>
                  <a:cubicBezTo>
                    <a:pt x="838" y="354"/>
                    <a:pt x="838" y="354"/>
                    <a:pt x="838" y="354"/>
                  </a:cubicBezTo>
                  <a:lnTo>
                    <a:pt x="838" y="1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4" name="Rectangle 205">
              <a:extLst>
                <a:ext uri="{FF2B5EF4-FFF2-40B4-BE49-F238E27FC236}">
                  <a16:creationId xmlns:a16="http://schemas.microsoft.com/office/drawing/2014/main" id="{BDDF9931-025E-F08C-9DFA-937D13A0CE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4362450"/>
              <a:ext cx="39687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5" name="Rectangle 206">
              <a:extLst>
                <a:ext uri="{FF2B5EF4-FFF2-40B4-BE49-F238E27FC236}">
                  <a16:creationId xmlns:a16="http://schemas.microsoft.com/office/drawing/2014/main" id="{359C21A4-BAA7-1AAA-B683-B6A7F53E9A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4440238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6" name="Rectangle 207">
              <a:extLst>
                <a:ext uri="{FF2B5EF4-FFF2-40B4-BE49-F238E27FC236}">
                  <a16:creationId xmlns:a16="http://schemas.microsoft.com/office/drawing/2014/main" id="{FB4AA947-7B65-AB04-F8CF-0E21087C5C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563" y="4400550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7" name="Rectangle 208">
              <a:extLst>
                <a:ext uri="{FF2B5EF4-FFF2-40B4-BE49-F238E27FC236}">
                  <a16:creationId xmlns:a16="http://schemas.microsoft.com/office/drawing/2014/main" id="{A0142D4F-6A4D-3DBE-0044-AD427D583B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7188" y="4400550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8" name="Rectangle 209">
              <a:extLst>
                <a:ext uri="{FF2B5EF4-FFF2-40B4-BE49-F238E27FC236}">
                  <a16:creationId xmlns:a16="http://schemas.microsoft.com/office/drawing/2014/main" id="{AB76D108-B013-4A08-DF6E-2D76EF4616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4362450"/>
              <a:ext cx="39687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9" name="Rectangle 210">
              <a:extLst>
                <a:ext uri="{FF2B5EF4-FFF2-40B4-BE49-F238E27FC236}">
                  <a16:creationId xmlns:a16="http://schemas.microsoft.com/office/drawing/2014/main" id="{9B1A20DD-7E1E-5C2E-283B-FF075A7FEB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4440238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0" name="Rectangle 211">
              <a:extLst>
                <a:ext uri="{FF2B5EF4-FFF2-40B4-BE49-F238E27FC236}">
                  <a16:creationId xmlns:a16="http://schemas.microsoft.com/office/drawing/2014/main" id="{7C85C7F5-7521-4309-3BE5-0163D7DB44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250" y="4400550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1" name="Rectangle 212">
              <a:extLst>
                <a:ext uri="{FF2B5EF4-FFF2-40B4-BE49-F238E27FC236}">
                  <a16:creationId xmlns:a16="http://schemas.microsoft.com/office/drawing/2014/main" id="{2C131C44-D1C0-3884-1295-4C201DC48A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4463" y="4400550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2" name="Rectangle 213">
              <a:extLst>
                <a:ext uri="{FF2B5EF4-FFF2-40B4-BE49-F238E27FC236}">
                  <a16:creationId xmlns:a16="http://schemas.microsoft.com/office/drawing/2014/main" id="{89302B30-CFB5-2CCA-364B-91F8F8B615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5418138"/>
              <a:ext cx="39687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3" name="Rectangle 214">
              <a:extLst>
                <a:ext uri="{FF2B5EF4-FFF2-40B4-BE49-F238E27FC236}">
                  <a16:creationId xmlns:a16="http://schemas.microsoft.com/office/drawing/2014/main" id="{62E502BF-D23B-F225-801A-9A926F5362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563" y="5495925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4" name="Rectangle 215">
              <a:extLst>
                <a:ext uri="{FF2B5EF4-FFF2-40B4-BE49-F238E27FC236}">
                  <a16:creationId xmlns:a16="http://schemas.microsoft.com/office/drawing/2014/main" id="{D5B7029A-2610-22EC-4656-7E0FDD4890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250" y="54562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5" name="Rectangle 216">
              <a:extLst>
                <a:ext uri="{FF2B5EF4-FFF2-40B4-BE49-F238E27FC236}">
                  <a16:creationId xmlns:a16="http://schemas.microsoft.com/office/drawing/2014/main" id="{E2A09AA2-0499-EE92-7B37-A69CFC72CC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4463" y="54562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6" name="Rectangle 217">
              <a:extLst>
                <a:ext uri="{FF2B5EF4-FFF2-40B4-BE49-F238E27FC236}">
                  <a16:creationId xmlns:a16="http://schemas.microsoft.com/office/drawing/2014/main" id="{049D86D5-5A54-DB53-AC29-55BAF55677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5418138"/>
              <a:ext cx="39687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7" name="Rectangle 218">
              <a:extLst>
                <a:ext uri="{FF2B5EF4-FFF2-40B4-BE49-F238E27FC236}">
                  <a16:creationId xmlns:a16="http://schemas.microsoft.com/office/drawing/2014/main" id="{7E207F50-9094-7945-7E9D-86EF6D1DA1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5495925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Rectangle 219">
              <a:extLst>
                <a:ext uri="{FF2B5EF4-FFF2-40B4-BE49-F238E27FC236}">
                  <a16:creationId xmlns:a16="http://schemas.microsoft.com/office/drawing/2014/main" id="{F2BC6122-35FD-9181-5521-53C982CA02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563" y="54562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9" name="Rectangle 220">
              <a:extLst>
                <a:ext uri="{FF2B5EF4-FFF2-40B4-BE49-F238E27FC236}">
                  <a16:creationId xmlns:a16="http://schemas.microsoft.com/office/drawing/2014/main" id="{F859837E-A7B0-028C-455C-558A38BEF7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7188" y="5456238"/>
              <a:ext cx="39687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0" name="Freeform 221">
              <a:extLst>
                <a:ext uri="{FF2B5EF4-FFF2-40B4-BE49-F238E27FC236}">
                  <a16:creationId xmlns:a16="http://schemas.microsoft.com/office/drawing/2014/main" id="{AD79B893-E91E-839C-C002-9BF60DED3A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3488" y="4632325"/>
              <a:ext cx="204787" cy="642938"/>
            </a:xfrm>
            <a:custGeom>
              <a:avLst/>
              <a:gdLst>
                <a:gd name="T0" fmla="*/ 14 w 335"/>
                <a:gd name="T1" fmla="*/ 43 h 1052"/>
                <a:gd name="T2" fmla="*/ 0 w 335"/>
                <a:gd name="T3" fmla="*/ 1007 h 1052"/>
                <a:gd name="T4" fmla="*/ 46 w 335"/>
                <a:gd name="T5" fmla="*/ 1052 h 1052"/>
                <a:gd name="T6" fmla="*/ 62 w 335"/>
                <a:gd name="T7" fmla="*/ 0 h 1052"/>
                <a:gd name="T8" fmla="*/ 14 w 335"/>
                <a:gd name="T9" fmla="*/ 43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5" h="1052">
                  <a:moveTo>
                    <a:pt x="14" y="43"/>
                  </a:moveTo>
                  <a:cubicBezTo>
                    <a:pt x="265" y="318"/>
                    <a:pt x="258" y="740"/>
                    <a:pt x="0" y="1007"/>
                  </a:cubicBezTo>
                  <a:cubicBezTo>
                    <a:pt x="46" y="1052"/>
                    <a:pt x="46" y="1052"/>
                    <a:pt x="46" y="1052"/>
                  </a:cubicBezTo>
                  <a:cubicBezTo>
                    <a:pt x="328" y="760"/>
                    <a:pt x="335" y="300"/>
                    <a:pt x="62" y="0"/>
                  </a:cubicBezTo>
                  <a:lnTo>
                    <a:pt x="1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1" name="Freeform 222">
              <a:extLst>
                <a:ext uri="{FF2B5EF4-FFF2-40B4-BE49-F238E27FC236}">
                  <a16:creationId xmlns:a16="http://schemas.microsoft.com/office/drawing/2014/main" id="{226FCF6C-7826-760F-AB40-F4BD2A4248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1163" y="4621213"/>
              <a:ext cx="204787" cy="654050"/>
            </a:xfrm>
            <a:custGeom>
              <a:avLst/>
              <a:gdLst>
                <a:gd name="T0" fmla="*/ 334 w 334"/>
                <a:gd name="T1" fmla="*/ 45 h 1069"/>
                <a:gd name="T2" fmla="*/ 288 w 334"/>
                <a:gd name="T3" fmla="*/ 0 h 1069"/>
                <a:gd name="T4" fmla="*/ 288 w 334"/>
                <a:gd name="T5" fmla="*/ 1069 h 1069"/>
                <a:gd name="T6" fmla="*/ 334 w 334"/>
                <a:gd name="T7" fmla="*/ 1024 h 1069"/>
                <a:gd name="T8" fmla="*/ 334 w 334"/>
                <a:gd name="T9" fmla="*/ 45 h 10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4" h="1069">
                  <a:moveTo>
                    <a:pt x="334" y="45"/>
                  </a:moveTo>
                  <a:cubicBezTo>
                    <a:pt x="288" y="0"/>
                    <a:pt x="288" y="0"/>
                    <a:pt x="288" y="0"/>
                  </a:cubicBezTo>
                  <a:cubicBezTo>
                    <a:pt x="0" y="298"/>
                    <a:pt x="0" y="771"/>
                    <a:pt x="288" y="1069"/>
                  </a:cubicBezTo>
                  <a:cubicBezTo>
                    <a:pt x="334" y="1024"/>
                    <a:pt x="334" y="1024"/>
                    <a:pt x="334" y="1024"/>
                  </a:cubicBezTo>
                  <a:cubicBezTo>
                    <a:pt x="70" y="751"/>
                    <a:pt x="70" y="318"/>
                    <a:pt x="334" y="4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B467EFBB-4FD4-F894-2A83-2C5D23F3683F}"/>
              </a:ext>
            </a:extLst>
          </p:cNvPr>
          <p:cNvGrpSpPr/>
          <p:nvPr/>
        </p:nvGrpSpPr>
        <p:grpSpPr>
          <a:xfrm>
            <a:off x="4586724" y="2456291"/>
            <a:ext cx="487064" cy="472181"/>
            <a:chOff x="10982325" y="6362701"/>
            <a:chExt cx="779463" cy="755649"/>
          </a:xfrm>
          <a:solidFill>
            <a:schemeClr val="bg1"/>
          </a:solidFill>
        </p:grpSpPr>
        <p:sp>
          <p:nvSpPr>
            <p:cNvPr id="43" name="Freeform 289">
              <a:extLst>
                <a:ext uri="{FF2B5EF4-FFF2-40B4-BE49-F238E27FC236}">
                  <a16:creationId xmlns:a16="http://schemas.microsoft.com/office/drawing/2014/main" id="{DD4B7E62-33CA-2122-3A88-22AAF678D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96650" y="6653213"/>
              <a:ext cx="465138" cy="465137"/>
            </a:xfrm>
            <a:custGeom>
              <a:avLst/>
              <a:gdLst>
                <a:gd name="T0" fmla="*/ 579 w 1230"/>
                <a:gd name="T1" fmla="*/ 2 h 1229"/>
                <a:gd name="T2" fmla="*/ 3 w 1230"/>
                <a:gd name="T3" fmla="*/ 578 h 1229"/>
                <a:gd name="T4" fmla="*/ 40 w 1230"/>
                <a:gd name="T5" fmla="*/ 781 h 1229"/>
                <a:gd name="T6" fmla="*/ 100 w 1230"/>
                <a:gd name="T7" fmla="*/ 758 h 1229"/>
                <a:gd name="T8" fmla="*/ 398 w 1230"/>
                <a:gd name="T9" fmla="*/ 99 h 1229"/>
                <a:gd name="T10" fmla="*/ 1057 w 1230"/>
                <a:gd name="T11" fmla="*/ 398 h 1229"/>
                <a:gd name="T12" fmla="*/ 759 w 1230"/>
                <a:gd name="T13" fmla="*/ 1057 h 1229"/>
                <a:gd name="T14" fmla="*/ 398 w 1230"/>
                <a:gd name="T15" fmla="*/ 1057 h 1229"/>
                <a:gd name="T16" fmla="*/ 376 w 1230"/>
                <a:gd name="T17" fmla="*/ 1117 h 1229"/>
                <a:gd name="T18" fmla="*/ 1118 w 1230"/>
                <a:gd name="T19" fmla="*/ 780 h 1229"/>
                <a:gd name="T20" fmla="*/ 782 w 1230"/>
                <a:gd name="T21" fmla="*/ 38 h 1229"/>
                <a:gd name="T22" fmla="*/ 579 w 1230"/>
                <a:gd name="T23" fmla="*/ 2 h 1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30" h="1229">
                  <a:moveTo>
                    <a:pt x="579" y="2"/>
                  </a:moveTo>
                  <a:cubicBezTo>
                    <a:pt x="261" y="2"/>
                    <a:pt x="3" y="260"/>
                    <a:pt x="3" y="578"/>
                  </a:cubicBezTo>
                  <a:cubicBezTo>
                    <a:pt x="3" y="647"/>
                    <a:pt x="16" y="716"/>
                    <a:pt x="40" y="781"/>
                  </a:cubicBezTo>
                  <a:cubicBezTo>
                    <a:pt x="100" y="758"/>
                    <a:pt x="100" y="758"/>
                    <a:pt x="100" y="758"/>
                  </a:cubicBezTo>
                  <a:cubicBezTo>
                    <a:pt x="0" y="494"/>
                    <a:pt x="134" y="199"/>
                    <a:pt x="398" y="99"/>
                  </a:cubicBezTo>
                  <a:cubicBezTo>
                    <a:pt x="663" y="0"/>
                    <a:pt x="958" y="133"/>
                    <a:pt x="1057" y="398"/>
                  </a:cubicBezTo>
                  <a:cubicBezTo>
                    <a:pt x="1157" y="662"/>
                    <a:pt x="1023" y="957"/>
                    <a:pt x="759" y="1057"/>
                  </a:cubicBezTo>
                  <a:cubicBezTo>
                    <a:pt x="643" y="1101"/>
                    <a:pt x="515" y="1101"/>
                    <a:pt x="398" y="1057"/>
                  </a:cubicBezTo>
                  <a:cubicBezTo>
                    <a:pt x="376" y="1117"/>
                    <a:pt x="376" y="1117"/>
                    <a:pt x="376" y="1117"/>
                  </a:cubicBezTo>
                  <a:cubicBezTo>
                    <a:pt x="674" y="1229"/>
                    <a:pt x="1006" y="1078"/>
                    <a:pt x="1118" y="780"/>
                  </a:cubicBezTo>
                  <a:cubicBezTo>
                    <a:pt x="1230" y="483"/>
                    <a:pt x="1079" y="151"/>
                    <a:pt x="782" y="38"/>
                  </a:cubicBezTo>
                  <a:cubicBezTo>
                    <a:pt x="717" y="14"/>
                    <a:pt x="648" y="2"/>
                    <a:pt x="579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Freeform 290">
              <a:extLst>
                <a:ext uri="{FF2B5EF4-FFF2-40B4-BE49-F238E27FC236}">
                  <a16:creationId xmlns:a16="http://schemas.microsoft.com/office/drawing/2014/main" id="{DF4A05ED-A344-B467-0EF6-EC7BF0FBBF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1425" y="6748463"/>
              <a:ext cx="238125" cy="247650"/>
            </a:xfrm>
            <a:custGeom>
              <a:avLst/>
              <a:gdLst>
                <a:gd name="T0" fmla="*/ 301 w 630"/>
                <a:gd name="T1" fmla="*/ 553 h 657"/>
                <a:gd name="T2" fmla="*/ 189 w 630"/>
                <a:gd name="T3" fmla="*/ 523 h 657"/>
                <a:gd name="T4" fmla="*/ 157 w 630"/>
                <a:gd name="T5" fmla="*/ 578 h 657"/>
                <a:gd name="T6" fmla="*/ 550 w 630"/>
                <a:gd name="T7" fmla="*/ 472 h 657"/>
                <a:gd name="T8" fmla="*/ 445 w 630"/>
                <a:gd name="T9" fmla="*/ 79 h 657"/>
                <a:gd name="T10" fmla="*/ 52 w 630"/>
                <a:gd name="T11" fmla="*/ 185 h 657"/>
                <a:gd name="T12" fmla="*/ 52 w 630"/>
                <a:gd name="T13" fmla="*/ 472 h 657"/>
                <a:gd name="T14" fmla="*/ 107 w 630"/>
                <a:gd name="T15" fmla="*/ 440 h 657"/>
                <a:gd name="T16" fmla="*/ 189 w 630"/>
                <a:gd name="T17" fmla="*/ 134 h 657"/>
                <a:gd name="T18" fmla="*/ 495 w 630"/>
                <a:gd name="T19" fmla="*/ 217 h 657"/>
                <a:gd name="T20" fmla="*/ 413 w 630"/>
                <a:gd name="T21" fmla="*/ 523 h 657"/>
                <a:gd name="T22" fmla="*/ 301 w 630"/>
                <a:gd name="T23" fmla="*/ 553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30" h="657">
                  <a:moveTo>
                    <a:pt x="301" y="553"/>
                  </a:moveTo>
                  <a:cubicBezTo>
                    <a:pt x="262" y="553"/>
                    <a:pt x="223" y="542"/>
                    <a:pt x="189" y="523"/>
                  </a:cubicBezTo>
                  <a:cubicBezTo>
                    <a:pt x="157" y="578"/>
                    <a:pt x="157" y="578"/>
                    <a:pt x="157" y="578"/>
                  </a:cubicBezTo>
                  <a:cubicBezTo>
                    <a:pt x="295" y="657"/>
                    <a:pt x="471" y="610"/>
                    <a:pt x="550" y="472"/>
                  </a:cubicBezTo>
                  <a:cubicBezTo>
                    <a:pt x="630" y="335"/>
                    <a:pt x="583" y="159"/>
                    <a:pt x="445" y="79"/>
                  </a:cubicBezTo>
                  <a:cubicBezTo>
                    <a:pt x="307" y="0"/>
                    <a:pt x="131" y="47"/>
                    <a:pt x="52" y="185"/>
                  </a:cubicBezTo>
                  <a:cubicBezTo>
                    <a:pt x="0" y="274"/>
                    <a:pt x="0" y="383"/>
                    <a:pt x="52" y="472"/>
                  </a:cubicBezTo>
                  <a:cubicBezTo>
                    <a:pt x="107" y="440"/>
                    <a:pt x="107" y="440"/>
                    <a:pt x="107" y="440"/>
                  </a:cubicBezTo>
                  <a:cubicBezTo>
                    <a:pt x="45" y="333"/>
                    <a:pt x="82" y="196"/>
                    <a:pt x="189" y="134"/>
                  </a:cubicBezTo>
                  <a:cubicBezTo>
                    <a:pt x="296" y="73"/>
                    <a:pt x="433" y="110"/>
                    <a:pt x="495" y="217"/>
                  </a:cubicBezTo>
                  <a:cubicBezTo>
                    <a:pt x="557" y="324"/>
                    <a:pt x="520" y="461"/>
                    <a:pt x="413" y="523"/>
                  </a:cubicBezTo>
                  <a:cubicBezTo>
                    <a:pt x="379" y="542"/>
                    <a:pt x="340" y="553"/>
                    <a:pt x="301" y="55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5" name="Freeform 291">
              <a:extLst>
                <a:ext uri="{FF2B5EF4-FFF2-40B4-BE49-F238E27FC236}">
                  <a16:creationId xmlns:a16="http://schemas.microsoft.com/office/drawing/2014/main" id="{638139AA-5D7E-7B7F-ABEA-94C16EF878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42688" y="6680200"/>
              <a:ext cx="365125" cy="384175"/>
            </a:xfrm>
            <a:custGeom>
              <a:avLst/>
              <a:gdLst>
                <a:gd name="T0" fmla="*/ 287 w 967"/>
                <a:gd name="T1" fmla="*/ 921 h 1016"/>
                <a:gd name="T2" fmla="*/ 872 w 967"/>
                <a:gd name="T3" fmla="*/ 680 h 1016"/>
                <a:gd name="T4" fmla="*/ 630 w 967"/>
                <a:gd name="T5" fmla="*/ 95 h 1016"/>
                <a:gd name="T6" fmla="*/ 45 w 967"/>
                <a:gd name="T7" fmla="*/ 336 h 1016"/>
                <a:gd name="T8" fmla="*/ 46 w 967"/>
                <a:gd name="T9" fmla="*/ 680 h 1016"/>
                <a:gd name="T10" fmla="*/ 105 w 967"/>
                <a:gd name="T11" fmla="*/ 656 h 1016"/>
                <a:gd name="T12" fmla="*/ 311 w 967"/>
                <a:gd name="T13" fmla="*/ 154 h 1016"/>
                <a:gd name="T14" fmla="*/ 813 w 967"/>
                <a:gd name="T15" fmla="*/ 361 h 1016"/>
                <a:gd name="T16" fmla="*/ 606 w 967"/>
                <a:gd name="T17" fmla="*/ 862 h 1016"/>
                <a:gd name="T18" fmla="*/ 311 w 967"/>
                <a:gd name="T19" fmla="*/ 862 h 1016"/>
                <a:gd name="T20" fmla="*/ 287 w 967"/>
                <a:gd name="T21" fmla="*/ 921 h 1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67" h="1016">
                  <a:moveTo>
                    <a:pt x="287" y="921"/>
                  </a:moveTo>
                  <a:cubicBezTo>
                    <a:pt x="515" y="1016"/>
                    <a:pt x="777" y="908"/>
                    <a:pt x="872" y="680"/>
                  </a:cubicBezTo>
                  <a:cubicBezTo>
                    <a:pt x="967" y="451"/>
                    <a:pt x="859" y="190"/>
                    <a:pt x="630" y="95"/>
                  </a:cubicBezTo>
                  <a:cubicBezTo>
                    <a:pt x="402" y="0"/>
                    <a:pt x="140" y="108"/>
                    <a:pt x="45" y="336"/>
                  </a:cubicBezTo>
                  <a:cubicBezTo>
                    <a:pt x="0" y="446"/>
                    <a:pt x="0" y="570"/>
                    <a:pt x="46" y="680"/>
                  </a:cubicBezTo>
                  <a:cubicBezTo>
                    <a:pt x="105" y="656"/>
                    <a:pt x="105" y="656"/>
                    <a:pt x="105" y="656"/>
                  </a:cubicBezTo>
                  <a:cubicBezTo>
                    <a:pt x="23" y="460"/>
                    <a:pt x="116" y="236"/>
                    <a:pt x="311" y="154"/>
                  </a:cubicBezTo>
                  <a:cubicBezTo>
                    <a:pt x="507" y="73"/>
                    <a:pt x="731" y="165"/>
                    <a:pt x="813" y="361"/>
                  </a:cubicBezTo>
                  <a:cubicBezTo>
                    <a:pt x="894" y="556"/>
                    <a:pt x="802" y="781"/>
                    <a:pt x="606" y="862"/>
                  </a:cubicBezTo>
                  <a:cubicBezTo>
                    <a:pt x="512" y="902"/>
                    <a:pt x="406" y="902"/>
                    <a:pt x="311" y="862"/>
                  </a:cubicBezTo>
                  <a:lnTo>
                    <a:pt x="287" y="9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6" name="Freeform 292">
              <a:extLst>
                <a:ext uri="{FF2B5EF4-FFF2-40B4-BE49-F238E27FC236}">
                  <a16:creationId xmlns:a16="http://schemas.microsoft.com/office/drawing/2014/main" id="{BCE4FFAF-9D0B-0A32-326D-C92C26876D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82325" y="6362701"/>
              <a:ext cx="582613" cy="752474"/>
            </a:xfrm>
            <a:custGeom>
              <a:avLst/>
              <a:gdLst>
                <a:gd name="T0" fmla="*/ 66 w 1538"/>
                <a:gd name="T1" fmla="*/ 1891 h 1987"/>
                <a:gd name="T2" fmla="*/ 880 w 1538"/>
                <a:gd name="T3" fmla="*/ 1905 h 1987"/>
                <a:gd name="T4" fmla="*/ 949 w 1538"/>
                <a:gd name="T5" fmla="*/ 1981 h 1987"/>
                <a:gd name="T6" fmla="*/ 1157 w 1538"/>
                <a:gd name="T7" fmla="*/ 1645 h 1987"/>
                <a:gd name="T8" fmla="*/ 1538 w 1538"/>
                <a:gd name="T9" fmla="*/ 1347 h 1987"/>
                <a:gd name="T10" fmla="*/ 1300 w 1538"/>
                <a:gd name="T11" fmla="*/ 1411 h 1987"/>
                <a:gd name="T12" fmla="*/ 936 w 1538"/>
                <a:gd name="T13" fmla="*/ 1584 h 1987"/>
                <a:gd name="T14" fmla="*/ 792 w 1538"/>
                <a:gd name="T15" fmla="*/ 1857 h 1987"/>
                <a:gd name="T16" fmla="*/ 162 w 1538"/>
                <a:gd name="T17" fmla="*/ 1923 h 1987"/>
                <a:gd name="T18" fmla="*/ 610 w 1538"/>
                <a:gd name="T19" fmla="*/ 1859 h 1987"/>
                <a:gd name="T20" fmla="*/ 162 w 1538"/>
                <a:gd name="T21" fmla="*/ 1667 h 1987"/>
                <a:gd name="T22" fmla="*/ 386 w 1538"/>
                <a:gd name="T23" fmla="*/ 1603 h 1987"/>
                <a:gd name="T24" fmla="*/ 642 w 1538"/>
                <a:gd name="T25" fmla="*/ 1315 h 1987"/>
                <a:gd name="T26" fmla="*/ 986 w 1538"/>
                <a:gd name="T27" fmla="*/ 354 h 1987"/>
                <a:gd name="T28" fmla="*/ 354 w 1538"/>
                <a:gd name="T29" fmla="*/ 986 h 1987"/>
                <a:gd name="T30" fmla="*/ 450 w 1538"/>
                <a:gd name="T31" fmla="*/ 1347 h 1987"/>
                <a:gd name="T32" fmla="*/ 162 w 1538"/>
                <a:gd name="T33" fmla="*/ 1539 h 1987"/>
                <a:gd name="T34" fmla="*/ 610 w 1538"/>
                <a:gd name="T35" fmla="*/ 1731 h 1987"/>
                <a:gd name="T36" fmla="*/ 1119 w 1538"/>
                <a:gd name="T37" fmla="*/ 1781 h 1987"/>
                <a:gd name="T38" fmla="*/ 1102 w 1538"/>
                <a:gd name="T39" fmla="*/ 1700 h 1987"/>
                <a:gd name="T40" fmla="*/ 1410 w 1538"/>
                <a:gd name="T41" fmla="*/ 1283 h 1987"/>
                <a:gd name="T42" fmla="*/ 1394 w 1538"/>
                <a:gd name="T43" fmla="*/ 1408 h 1987"/>
                <a:gd name="T44" fmla="*/ 1349 w 1538"/>
                <a:gd name="T45" fmla="*/ 1363 h 1987"/>
                <a:gd name="T46" fmla="*/ 1057 w 1538"/>
                <a:gd name="T47" fmla="*/ 1654 h 1987"/>
                <a:gd name="T48" fmla="*/ 976 w 1538"/>
                <a:gd name="T49" fmla="*/ 1638 h 1987"/>
                <a:gd name="T50" fmla="*/ 674 w 1538"/>
                <a:gd name="T51" fmla="*/ 1155 h 1987"/>
                <a:gd name="T52" fmla="*/ 130 w 1538"/>
                <a:gd name="T53" fmla="*/ 547 h 1987"/>
                <a:gd name="T54" fmla="*/ 613 w 1538"/>
                <a:gd name="T55" fmla="*/ 957 h 1987"/>
                <a:gd name="T56" fmla="*/ 834 w 1538"/>
                <a:gd name="T57" fmla="*/ 611 h 1987"/>
                <a:gd name="T58" fmla="*/ 573 w 1538"/>
                <a:gd name="T59" fmla="*/ 675 h 1987"/>
                <a:gd name="T60" fmla="*/ 386 w 1538"/>
                <a:gd name="T61" fmla="*/ 483 h 1987"/>
                <a:gd name="T62" fmla="*/ 461 w 1538"/>
                <a:gd name="T63" fmla="*/ 739 h 1987"/>
                <a:gd name="T64" fmla="*/ 544 w 1538"/>
                <a:gd name="T65" fmla="*/ 963 h 1987"/>
                <a:gd name="T66" fmla="*/ 549 w 1538"/>
                <a:gd name="T67" fmla="*/ 963 h 1987"/>
                <a:gd name="T68" fmla="*/ 637 w 1538"/>
                <a:gd name="T69" fmla="*/ 675 h 1987"/>
                <a:gd name="T70" fmla="*/ 770 w 1538"/>
                <a:gd name="T71" fmla="*/ 611 h 1987"/>
                <a:gd name="T72" fmla="*/ 455 w 1538"/>
                <a:gd name="T73" fmla="*/ 675 h 1987"/>
                <a:gd name="T74" fmla="*/ 386 w 1538"/>
                <a:gd name="T75" fmla="*/ 547 h 1987"/>
                <a:gd name="T76" fmla="*/ 455 w 1538"/>
                <a:gd name="T77" fmla="*/ 675 h 1987"/>
                <a:gd name="T78" fmla="*/ 674 w 1538"/>
                <a:gd name="T79" fmla="*/ 1059 h 1987"/>
                <a:gd name="T80" fmla="*/ 546 w 1538"/>
                <a:gd name="T81" fmla="*/ 1027 h 1987"/>
                <a:gd name="T82" fmla="*/ 642 w 1538"/>
                <a:gd name="T83" fmla="*/ 1251 h 1987"/>
                <a:gd name="T84" fmla="*/ 578 w 1538"/>
                <a:gd name="T85" fmla="*/ 1315 h 1987"/>
                <a:gd name="T86" fmla="*/ 514 w 1538"/>
                <a:gd name="T87" fmla="*/ 1347 h 1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38" h="1987">
                  <a:moveTo>
                    <a:pt x="610" y="1795"/>
                  </a:moveTo>
                  <a:cubicBezTo>
                    <a:pt x="162" y="1795"/>
                    <a:pt x="162" y="1795"/>
                    <a:pt x="162" y="1795"/>
                  </a:cubicBezTo>
                  <a:cubicBezTo>
                    <a:pt x="109" y="1795"/>
                    <a:pt x="66" y="1838"/>
                    <a:pt x="66" y="1891"/>
                  </a:cubicBezTo>
                  <a:cubicBezTo>
                    <a:pt x="66" y="1944"/>
                    <a:pt x="109" y="1987"/>
                    <a:pt x="162" y="1987"/>
                  </a:cubicBezTo>
                  <a:cubicBezTo>
                    <a:pt x="552" y="1987"/>
                    <a:pt x="552" y="1987"/>
                    <a:pt x="552" y="1987"/>
                  </a:cubicBezTo>
                  <a:cubicBezTo>
                    <a:pt x="666" y="1986"/>
                    <a:pt x="779" y="1959"/>
                    <a:pt x="880" y="1905"/>
                  </a:cubicBezTo>
                  <a:cubicBezTo>
                    <a:pt x="900" y="1965"/>
                    <a:pt x="900" y="1965"/>
                    <a:pt x="900" y="1965"/>
                  </a:cubicBezTo>
                  <a:cubicBezTo>
                    <a:pt x="904" y="1978"/>
                    <a:pt x="916" y="1987"/>
                    <a:pt x="930" y="1987"/>
                  </a:cubicBezTo>
                  <a:cubicBezTo>
                    <a:pt x="937" y="1987"/>
                    <a:pt x="943" y="1984"/>
                    <a:pt x="949" y="1981"/>
                  </a:cubicBezTo>
                  <a:cubicBezTo>
                    <a:pt x="1173" y="1821"/>
                    <a:pt x="1173" y="1821"/>
                    <a:pt x="1173" y="1821"/>
                  </a:cubicBezTo>
                  <a:cubicBezTo>
                    <a:pt x="1183" y="1813"/>
                    <a:pt x="1188" y="1801"/>
                    <a:pt x="1186" y="1788"/>
                  </a:cubicBezTo>
                  <a:cubicBezTo>
                    <a:pt x="1157" y="1645"/>
                    <a:pt x="1157" y="1645"/>
                    <a:pt x="1157" y="1645"/>
                  </a:cubicBezTo>
                  <a:cubicBezTo>
                    <a:pt x="1346" y="1456"/>
                    <a:pt x="1346" y="1456"/>
                    <a:pt x="1346" y="1456"/>
                  </a:cubicBezTo>
                  <a:cubicBezTo>
                    <a:pt x="1365" y="1468"/>
                    <a:pt x="1387" y="1474"/>
                    <a:pt x="1410" y="1475"/>
                  </a:cubicBezTo>
                  <a:cubicBezTo>
                    <a:pt x="1481" y="1475"/>
                    <a:pt x="1538" y="1417"/>
                    <a:pt x="1538" y="1347"/>
                  </a:cubicBezTo>
                  <a:cubicBezTo>
                    <a:pt x="1538" y="1276"/>
                    <a:pt x="1481" y="1219"/>
                    <a:pt x="1410" y="1219"/>
                  </a:cubicBezTo>
                  <a:cubicBezTo>
                    <a:pt x="1339" y="1219"/>
                    <a:pt x="1282" y="1276"/>
                    <a:pt x="1282" y="1347"/>
                  </a:cubicBezTo>
                  <a:cubicBezTo>
                    <a:pt x="1282" y="1369"/>
                    <a:pt x="1289" y="1392"/>
                    <a:pt x="1300" y="1411"/>
                  </a:cubicBezTo>
                  <a:cubicBezTo>
                    <a:pt x="1111" y="1600"/>
                    <a:pt x="1111" y="1600"/>
                    <a:pt x="1111" y="1600"/>
                  </a:cubicBezTo>
                  <a:cubicBezTo>
                    <a:pt x="969" y="1571"/>
                    <a:pt x="969" y="1571"/>
                    <a:pt x="969" y="1571"/>
                  </a:cubicBezTo>
                  <a:cubicBezTo>
                    <a:pt x="956" y="1569"/>
                    <a:pt x="944" y="1574"/>
                    <a:pt x="936" y="1584"/>
                  </a:cubicBezTo>
                  <a:cubicBezTo>
                    <a:pt x="776" y="1808"/>
                    <a:pt x="776" y="1808"/>
                    <a:pt x="776" y="1808"/>
                  </a:cubicBezTo>
                  <a:cubicBezTo>
                    <a:pt x="766" y="1822"/>
                    <a:pt x="769" y="1842"/>
                    <a:pt x="784" y="1853"/>
                  </a:cubicBezTo>
                  <a:cubicBezTo>
                    <a:pt x="786" y="1855"/>
                    <a:pt x="789" y="1856"/>
                    <a:pt x="792" y="1857"/>
                  </a:cubicBezTo>
                  <a:cubicBezTo>
                    <a:pt x="817" y="1865"/>
                    <a:pt x="817" y="1865"/>
                    <a:pt x="817" y="1865"/>
                  </a:cubicBezTo>
                  <a:cubicBezTo>
                    <a:pt x="733" y="1903"/>
                    <a:pt x="643" y="1922"/>
                    <a:pt x="552" y="1923"/>
                  </a:cubicBezTo>
                  <a:cubicBezTo>
                    <a:pt x="162" y="1923"/>
                    <a:pt x="162" y="1923"/>
                    <a:pt x="162" y="1923"/>
                  </a:cubicBezTo>
                  <a:cubicBezTo>
                    <a:pt x="144" y="1923"/>
                    <a:pt x="130" y="1908"/>
                    <a:pt x="130" y="1891"/>
                  </a:cubicBezTo>
                  <a:cubicBezTo>
                    <a:pt x="130" y="1873"/>
                    <a:pt x="144" y="1859"/>
                    <a:pt x="162" y="1859"/>
                  </a:cubicBezTo>
                  <a:cubicBezTo>
                    <a:pt x="610" y="1859"/>
                    <a:pt x="610" y="1859"/>
                    <a:pt x="610" y="1859"/>
                  </a:cubicBezTo>
                  <a:cubicBezTo>
                    <a:pt x="663" y="1859"/>
                    <a:pt x="706" y="1816"/>
                    <a:pt x="706" y="1763"/>
                  </a:cubicBezTo>
                  <a:cubicBezTo>
                    <a:pt x="706" y="1710"/>
                    <a:pt x="663" y="1667"/>
                    <a:pt x="610" y="1667"/>
                  </a:cubicBezTo>
                  <a:cubicBezTo>
                    <a:pt x="162" y="1667"/>
                    <a:pt x="162" y="1667"/>
                    <a:pt x="162" y="1667"/>
                  </a:cubicBezTo>
                  <a:cubicBezTo>
                    <a:pt x="144" y="1667"/>
                    <a:pt x="130" y="1652"/>
                    <a:pt x="130" y="1635"/>
                  </a:cubicBezTo>
                  <a:cubicBezTo>
                    <a:pt x="130" y="1617"/>
                    <a:pt x="144" y="1603"/>
                    <a:pt x="162" y="1603"/>
                  </a:cubicBezTo>
                  <a:cubicBezTo>
                    <a:pt x="386" y="1603"/>
                    <a:pt x="386" y="1603"/>
                    <a:pt x="386" y="1603"/>
                  </a:cubicBezTo>
                  <a:cubicBezTo>
                    <a:pt x="482" y="1602"/>
                    <a:pt x="563" y="1532"/>
                    <a:pt x="576" y="1437"/>
                  </a:cubicBezTo>
                  <a:cubicBezTo>
                    <a:pt x="615" y="1425"/>
                    <a:pt x="642" y="1388"/>
                    <a:pt x="642" y="1347"/>
                  </a:cubicBezTo>
                  <a:cubicBezTo>
                    <a:pt x="642" y="1315"/>
                    <a:pt x="642" y="1315"/>
                    <a:pt x="642" y="1315"/>
                  </a:cubicBezTo>
                  <a:cubicBezTo>
                    <a:pt x="695" y="1315"/>
                    <a:pt x="738" y="1272"/>
                    <a:pt x="738" y="1219"/>
                  </a:cubicBezTo>
                  <a:cubicBezTo>
                    <a:pt x="738" y="986"/>
                    <a:pt x="738" y="986"/>
                    <a:pt x="738" y="986"/>
                  </a:cubicBezTo>
                  <a:cubicBezTo>
                    <a:pt x="981" y="880"/>
                    <a:pt x="1092" y="597"/>
                    <a:pt x="986" y="354"/>
                  </a:cubicBezTo>
                  <a:cubicBezTo>
                    <a:pt x="880" y="111"/>
                    <a:pt x="597" y="0"/>
                    <a:pt x="354" y="106"/>
                  </a:cubicBezTo>
                  <a:cubicBezTo>
                    <a:pt x="111" y="212"/>
                    <a:pt x="0" y="495"/>
                    <a:pt x="106" y="738"/>
                  </a:cubicBezTo>
                  <a:cubicBezTo>
                    <a:pt x="155" y="849"/>
                    <a:pt x="243" y="938"/>
                    <a:pt x="354" y="986"/>
                  </a:cubicBezTo>
                  <a:cubicBezTo>
                    <a:pt x="354" y="1219"/>
                    <a:pt x="354" y="1219"/>
                    <a:pt x="354" y="1219"/>
                  </a:cubicBezTo>
                  <a:cubicBezTo>
                    <a:pt x="354" y="1272"/>
                    <a:pt x="397" y="1315"/>
                    <a:pt x="450" y="1315"/>
                  </a:cubicBezTo>
                  <a:cubicBezTo>
                    <a:pt x="450" y="1347"/>
                    <a:pt x="450" y="1347"/>
                    <a:pt x="450" y="1347"/>
                  </a:cubicBezTo>
                  <a:cubicBezTo>
                    <a:pt x="450" y="1386"/>
                    <a:pt x="475" y="1422"/>
                    <a:pt x="512" y="1436"/>
                  </a:cubicBezTo>
                  <a:cubicBezTo>
                    <a:pt x="499" y="1496"/>
                    <a:pt x="447" y="1538"/>
                    <a:pt x="386" y="1539"/>
                  </a:cubicBezTo>
                  <a:cubicBezTo>
                    <a:pt x="162" y="1539"/>
                    <a:pt x="162" y="1539"/>
                    <a:pt x="162" y="1539"/>
                  </a:cubicBezTo>
                  <a:cubicBezTo>
                    <a:pt x="109" y="1539"/>
                    <a:pt x="66" y="1582"/>
                    <a:pt x="66" y="1635"/>
                  </a:cubicBezTo>
                  <a:cubicBezTo>
                    <a:pt x="66" y="1688"/>
                    <a:pt x="109" y="1731"/>
                    <a:pt x="162" y="1731"/>
                  </a:cubicBezTo>
                  <a:cubicBezTo>
                    <a:pt x="610" y="1731"/>
                    <a:pt x="610" y="1731"/>
                    <a:pt x="610" y="1731"/>
                  </a:cubicBezTo>
                  <a:cubicBezTo>
                    <a:pt x="628" y="1731"/>
                    <a:pt x="642" y="1745"/>
                    <a:pt x="642" y="1763"/>
                  </a:cubicBezTo>
                  <a:cubicBezTo>
                    <a:pt x="642" y="1780"/>
                    <a:pt x="628" y="1795"/>
                    <a:pt x="610" y="1795"/>
                  </a:cubicBezTo>
                  <a:moveTo>
                    <a:pt x="1119" y="1781"/>
                  </a:moveTo>
                  <a:cubicBezTo>
                    <a:pt x="947" y="1903"/>
                    <a:pt x="947" y="1903"/>
                    <a:pt x="947" y="1903"/>
                  </a:cubicBezTo>
                  <a:cubicBezTo>
                    <a:pt x="935" y="1867"/>
                    <a:pt x="935" y="1867"/>
                    <a:pt x="935" y="1867"/>
                  </a:cubicBezTo>
                  <a:cubicBezTo>
                    <a:pt x="1102" y="1700"/>
                    <a:pt x="1102" y="1700"/>
                    <a:pt x="1102" y="1700"/>
                  </a:cubicBezTo>
                  <a:lnTo>
                    <a:pt x="1119" y="1781"/>
                  </a:lnTo>
                  <a:close/>
                  <a:moveTo>
                    <a:pt x="1346" y="1347"/>
                  </a:moveTo>
                  <a:cubicBezTo>
                    <a:pt x="1346" y="1311"/>
                    <a:pt x="1375" y="1283"/>
                    <a:pt x="1410" y="1283"/>
                  </a:cubicBezTo>
                  <a:cubicBezTo>
                    <a:pt x="1445" y="1283"/>
                    <a:pt x="1474" y="1311"/>
                    <a:pt x="1474" y="1347"/>
                  </a:cubicBezTo>
                  <a:cubicBezTo>
                    <a:pt x="1474" y="1382"/>
                    <a:pt x="1445" y="1411"/>
                    <a:pt x="1410" y="1411"/>
                  </a:cubicBezTo>
                  <a:cubicBezTo>
                    <a:pt x="1405" y="1410"/>
                    <a:pt x="1399" y="1410"/>
                    <a:pt x="1394" y="1408"/>
                  </a:cubicBezTo>
                  <a:cubicBezTo>
                    <a:pt x="1433" y="1369"/>
                    <a:pt x="1433" y="1369"/>
                    <a:pt x="1433" y="1369"/>
                  </a:cubicBezTo>
                  <a:cubicBezTo>
                    <a:pt x="1387" y="1324"/>
                    <a:pt x="1387" y="1324"/>
                    <a:pt x="1387" y="1324"/>
                  </a:cubicBezTo>
                  <a:cubicBezTo>
                    <a:pt x="1349" y="1363"/>
                    <a:pt x="1349" y="1363"/>
                    <a:pt x="1349" y="1363"/>
                  </a:cubicBezTo>
                  <a:cubicBezTo>
                    <a:pt x="1347" y="1358"/>
                    <a:pt x="1346" y="1352"/>
                    <a:pt x="1346" y="1347"/>
                  </a:cubicBezTo>
                  <a:moveTo>
                    <a:pt x="976" y="1638"/>
                  </a:moveTo>
                  <a:cubicBezTo>
                    <a:pt x="1057" y="1654"/>
                    <a:pt x="1057" y="1654"/>
                    <a:pt x="1057" y="1654"/>
                  </a:cubicBezTo>
                  <a:cubicBezTo>
                    <a:pt x="889" y="1822"/>
                    <a:pt x="889" y="1822"/>
                    <a:pt x="889" y="1822"/>
                  </a:cubicBezTo>
                  <a:cubicBezTo>
                    <a:pt x="853" y="1810"/>
                    <a:pt x="853" y="1810"/>
                    <a:pt x="853" y="1810"/>
                  </a:cubicBezTo>
                  <a:lnTo>
                    <a:pt x="976" y="1638"/>
                  </a:lnTo>
                  <a:close/>
                  <a:moveTo>
                    <a:pt x="418" y="1123"/>
                  </a:moveTo>
                  <a:cubicBezTo>
                    <a:pt x="674" y="1123"/>
                    <a:pt x="674" y="1123"/>
                    <a:pt x="674" y="1123"/>
                  </a:cubicBezTo>
                  <a:cubicBezTo>
                    <a:pt x="674" y="1155"/>
                    <a:pt x="674" y="1155"/>
                    <a:pt x="674" y="1155"/>
                  </a:cubicBezTo>
                  <a:cubicBezTo>
                    <a:pt x="418" y="1155"/>
                    <a:pt x="418" y="1155"/>
                    <a:pt x="418" y="1155"/>
                  </a:cubicBezTo>
                  <a:lnTo>
                    <a:pt x="418" y="1123"/>
                  </a:lnTo>
                  <a:close/>
                  <a:moveTo>
                    <a:pt x="130" y="547"/>
                  </a:moveTo>
                  <a:cubicBezTo>
                    <a:pt x="130" y="317"/>
                    <a:pt x="316" y="130"/>
                    <a:pt x="546" y="130"/>
                  </a:cubicBezTo>
                  <a:cubicBezTo>
                    <a:pt x="775" y="130"/>
                    <a:pt x="962" y="316"/>
                    <a:pt x="962" y="546"/>
                  </a:cubicBezTo>
                  <a:cubicBezTo>
                    <a:pt x="962" y="750"/>
                    <a:pt x="815" y="924"/>
                    <a:pt x="613" y="957"/>
                  </a:cubicBezTo>
                  <a:cubicBezTo>
                    <a:pt x="631" y="739"/>
                    <a:pt x="631" y="739"/>
                    <a:pt x="631" y="739"/>
                  </a:cubicBezTo>
                  <a:cubicBezTo>
                    <a:pt x="706" y="739"/>
                    <a:pt x="706" y="739"/>
                    <a:pt x="706" y="739"/>
                  </a:cubicBezTo>
                  <a:cubicBezTo>
                    <a:pt x="777" y="739"/>
                    <a:pt x="834" y="681"/>
                    <a:pt x="834" y="611"/>
                  </a:cubicBezTo>
                  <a:cubicBezTo>
                    <a:pt x="834" y="540"/>
                    <a:pt x="777" y="483"/>
                    <a:pt x="706" y="483"/>
                  </a:cubicBezTo>
                  <a:cubicBezTo>
                    <a:pt x="636" y="483"/>
                    <a:pt x="580" y="538"/>
                    <a:pt x="578" y="608"/>
                  </a:cubicBezTo>
                  <a:cubicBezTo>
                    <a:pt x="573" y="675"/>
                    <a:pt x="573" y="675"/>
                    <a:pt x="573" y="675"/>
                  </a:cubicBezTo>
                  <a:cubicBezTo>
                    <a:pt x="519" y="675"/>
                    <a:pt x="519" y="675"/>
                    <a:pt x="519" y="675"/>
                  </a:cubicBezTo>
                  <a:cubicBezTo>
                    <a:pt x="514" y="611"/>
                    <a:pt x="514" y="611"/>
                    <a:pt x="514" y="611"/>
                  </a:cubicBezTo>
                  <a:cubicBezTo>
                    <a:pt x="514" y="540"/>
                    <a:pt x="457" y="483"/>
                    <a:pt x="386" y="483"/>
                  </a:cubicBezTo>
                  <a:cubicBezTo>
                    <a:pt x="315" y="483"/>
                    <a:pt x="258" y="540"/>
                    <a:pt x="258" y="611"/>
                  </a:cubicBezTo>
                  <a:cubicBezTo>
                    <a:pt x="258" y="681"/>
                    <a:pt x="315" y="739"/>
                    <a:pt x="386" y="739"/>
                  </a:cubicBezTo>
                  <a:cubicBezTo>
                    <a:pt x="461" y="739"/>
                    <a:pt x="461" y="739"/>
                    <a:pt x="461" y="739"/>
                  </a:cubicBezTo>
                  <a:cubicBezTo>
                    <a:pt x="479" y="957"/>
                    <a:pt x="479" y="957"/>
                    <a:pt x="479" y="957"/>
                  </a:cubicBezTo>
                  <a:cubicBezTo>
                    <a:pt x="278" y="924"/>
                    <a:pt x="130" y="750"/>
                    <a:pt x="130" y="547"/>
                  </a:cubicBezTo>
                  <a:moveTo>
                    <a:pt x="544" y="963"/>
                  </a:moveTo>
                  <a:cubicBezTo>
                    <a:pt x="525" y="739"/>
                    <a:pt x="525" y="739"/>
                    <a:pt x="525" y="739"/>
                  </a:cubicBezTo>
                  <a:cubicBezTo>
                    <a:pt x="567" y="739"/>
                    <a:pt x="567" y="739"/>
                    <a:pt x="567" y="739"/>
                  </a:cubicBezTo>
                  <a:cubicBezTo>
                    <a:pt x="549" y="963"/>
                    <a:pt x="549" y="963"/>
                    <a:pt x="549" y="963"/>
                  </a:cubicBezTo>
                  <a:cubicBezTo>
                    <a:pt x="546" y="963"/>
                    <a:pt x="546" y="963"/>
                    <a:pt x="546" y="963"/>
                  </a:cubicBezTo>
                  <a:lnTo>
                    <a:pt x="544" y="963"/>
                  </a:lnTo>
                  <a:close/>
                  <a:moveTo>
                    <a:pt x="637" y="675"/>
                  </a:moveTo>
                  <a:cubicBezTo>
                    <a:pt x="642" y="611"/>
                    <a:pt x="642" y="611"/>
                    <a:pt x="642" y="611"/>
                  </a:cubicBezTo>
                  <a:cubicBezTo>
                    <a:pt x="642" y="575"/>
                    <a:pt x="671" y="547"/>
                    <a:pt x="706" y="547"/>
                  </a:cubicBezTo>
                  <a:cubicBezTo>
                    <a:pt x="741" y="547"/>
                    <a:pt x="770" y="575"/>
                    <a:pt x="770" y="611"/>
                  </a:cubicBezTo>
                  <a:cubicBezTo>
                    <a:pt x="770" y="646"/>
                    <a:pt x="741" y="675"/>
                    <a:pt x="706" y="675"/>
                  </a:cubicBezTo>
                  <a:lnTo>
                    <a:pt x="637" y="675"/>
                  </a:lnTo>
                  <a:close/>
                  <a:moveTo>
                    <a:pt x="455" y="675"/>
                  </a:moveTo>
                  <a:cubicBezTo>
                    <a:pt x="386" y="675"/>
                    <a:pt x="386" y="675"/>
                    <a:pt x="386" y="675"/>
                  </a:cubicBezTo>
                  <a:cubicBezTo>
                    <a:pt x="351" y="675"/>
                    <a:pt x="322" y="646"/>
                    <a:pt x="322" y="611"/>
                  </a:cubicBezTo>
                  <a:cubicBezTo>
                    <a:pt x="322" y="575"/>
                    <a:pt x="351" y="547"/>
                    <a:pt x="386" y="547"/>
                  </a:cubicBezTo>
                  <a:cubicBezTo>
                    <a:pt x="422" y="547"/>
                    <a:pt x="451" y="576"/>
                    <a:pt x="450" y="612"/>
                  </a:cubicBezTo>
                  <a:cubicBezTo>
                    <a:pt x="450" y="613"/>
                    <a:pt x="450" y="613"/>
                    <a:pt x="450" y="613"/>
                  </a:cubicBezTo>
                  <a:lnTo>
                    <a:pt x="455" y="675"/>
                  </a:lnTo>
                  <a:close/>
                  <a:moveTo>
                    <a:pt x="546" y="1027"/>
                  </a:moveTo>
                  <a:cubicBezTo>
                    <a:pt x="589" y="1026"/>
                    <a:pt x="632" y="1020"/>
                    <a:pt x="674" y="1009"/>
                  </a:cubicBezTo>
                  <a:cubicBezTo>
                    <a:pt x="674" y="1059"/>
                    <a:pt x="674" y="1059"/>
                    <a:pt x="674" y="1059"/>
                  </a:cubicBezTo>
                  <a:cubicBezTo>
                    <a:pt x="418" y="1059"/>
                    <a:pt x="418" y="1059"/>
                    <a:pt x="418" y="1059"/>
                  </a:cubicBezTo>
                  <a:cubicBezTo>
                    <a:pt x="418" y="1009"/>
                    <a:pt x="418" y="1009"/>
                    <a:pt x="418" y="1009"/>
                  </a:cubicBezTo>
                  <a:cubicBezTo>
                    <a:pt x="460" y="1020"/>
                    <a:pt x="503" y="1026"/>
                    <a:pt x="546" y="1027"/>
                  </a:cubicBezTo>
                  <a:moveTo>
                    <a:pt x="418" y="1219"/>
                  </a:moveTo>
                  <a:cubicBezTo>
                    <a:pt x="674" y="1219"/>
                    <a:pt x="674" y="1219"/>
                    <a:pt x="674" y="1219"/>
                  </a:cubicBezTo>
                  <a:cubicBezTo>
                    <a:pt x="674" y="1236"/>
                    <a:pt x="660" y="1251"/>
                    <a:pt x="642" y="1251"/>
                  </a:cubicBezTo>
                  <a:cubicBezTo>
                    <a:pt x="450" y="1251"/>
                    <a:pt x="450" y="1251"/>
                    <a:pt x="450" y="1251"/>
                  </a:cubicBezTo>
                  <a:cubicBezTo>
                    <a:pt x="432" y="1251"/>
                    <a:pt x="418" y="1236"/>
                    <a:pt x="418" y="1219"/>
                  </a:cubicBezTo>
                  <a:moveTo>
                    <a:pt x="578" y="1315"/>
                  </a:moveTo>
                  <a:cubicBezTo>
                    <a:pt x="578" y="1347"/>
                    <a:pt x="578" y="1347"/>
                    <a:pt x="578" y="1347"/>
                  </a:cubicBezTo>
                  <a:cubicBezTo>
                    <a:pt x="578" y="1364"/>
                    <a:pt x="564" y="1379"/>
                    <a:pt x="546" y="1379"/>
                  </a:cubicBezTo>
                  <a:cubicBezTo>
                    <a:pt x="528" y="1379"/>
                    <a:pt x="514" y="1364"/>
                    <a:pt x="514" y="1347"/>
                  </a:cubicBezTo>
                  <a:cubicBezTo>
                    <a:pt x="514" y="1315"/>
                    <a:pt x="514" y="1315"/>
                    <a:pt x="514" y="1315"/>
                  </a:cubicBezTo>
                  <a:lnTo>
                    <a:pt x="578" y="13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Freeform 293">
              <a:extLst>
                <a:ext uri="{FF2B5EF4-FFF2-40B4-BE49-F238E27FC236}">
                  <a16:creationId xmlns:a16="http://schemas.microsoft.com/office/drawing/2014/main" id="{1084067D-F8C0-6553-8AE6-DB3ADBC95A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87138" y="6403975"/>
              <a:ext cx="279400" cy="227012"/>
            </a:xfrm>
            <a:custGeom>
              <a:avLst/>
              <a:gdLst>
                <a:gd name="T0" fmla="*/ 119 w 739"/>
                <a:gd name="T1" fmla="*/ 517 h 597"/>
                <a:gd name="T2" fmla="*/ 149 w 739"/>
                <a:gd name="T3" fmla="*/ 524 h 597"/>
                <a:gd name="T4" fmla="*/ 707 w 739"/>
                <a:gd name="T5" fmla="*/ 597 h 597"/>
                <a:gd name="T6" fmla="*/ 739 w 739"/>
                <a:gd name="T7" fmla="*/ 542 h 597"/>
                <a:gd name="T8" fmla="*/ 177 w 739"/>
                <a:gd name="T9" fmla="*/ 451 h 597"/>
                <a:gd name="T10" fmla="*/ 179 w 739"/>
                <a:gd name="T11" fmla="*/ 403 h 597"/>
                <a:gd name="T12" fmla="*/ 53 w 739"/>
                <a:gd name="T13" fmla="*/ 0 h 597"/>
                <a:gd name="T14" fmla="*/ 0 w 739"/>
                <a:gd name="T15" fmla="*/ 37 h 597"/>
                <a:gd name="T16" fmla="*/ 109 w 739"/>
                <a:gd name="T17" fmla="*/ 488 h 597"/>
                <a:gd name="T18" fmla="*/ 119 w 739"/>
                <a:gd name="T19" fmla="*/ 517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9" h="597">
                  <a:moveTo>
                    <a:pt x="119" y="517"/>
                  </a:moveTo>
                  <a:cubicBezTo>
                    <a:pt x="127" y="524"/>
                    <a:pt x="138" y="526"/>
                    <a:pt x="149" y="524"/>
                  </a:cubicBezTo>
                  <a:cubicBezTo>
                    <a:pt x="337" y="474"/>
                    <a:pt x="538" y="500"/>
                    <a:pt x="707" y="597"/>
                  </a:cubicBezTo>
                  <a:cubicBezTo>
                    <a:pt x="739" y="542"/>
                    <a:pt x="739" y="542"/>
                    <a:pt x="739" y="542"/>
                  </a:cubicBezTo>
                  <a:cubicBezTo>
                    <a:pt x="569" y="444"/>
                    <a:pt x="369" y="412"/>
                    <a:pt x="177" y="451"/>
                  </a:cubicBezTo>
                  <a:cubicBezTo>
                    <a:pt x="178" y="434"/>
                    <a:pt x="179" y="418"/>
                    <a:pt x="179" y="403"/>
                  </a:cubicBezTo>
                  <a:cubicBezTo>
                    <a:pt x="179" y="259"/>
                    <a:pt x="135" y="118"/>
                    <a:pt x="53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93" y="168"/>
                    <a:pt x="132" y="330"/>
                    <a:pt x="109" y="488"/>
                  </a:cubicBezTo>
                  <a:cubicBezTo>
                    <a:pt x="107" y="499"/>
                    <a:pt x="111" y="510"/>
                    <a:pt x="119" y="5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Freeform 294">
              <a:extLst>
                <a:ext uri="{FF2B5EF4-FFF2-40B4-BE49-F238E27FC236}">
                  <a16:creationId xmlns:a16="http://schemas.microsoft.com/office/drawing/2014/main" id="{1661114A-2D57-6F06-92E5-7998B93B1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9875" y="6645275"/>
              <a:ext cx="42863" cy="42862"/>
            </a:xfrm>
            <a:custGeom>
              <a:avLst/>
              <a:gdLst>
                <a:gd name="T0" fmla="*/ 42 w 113"/>
                <a:gd name="T1" fmla="*/ 0 h 113"/>
                <a:gd name="T2" fmla="*/ 0 w 113"/>
                <a:gd name="T3" fmla="*/ 48 h 113"/>
                <a:gd name="T4" fmla="*/ 65 w 113"/>
                <a:gd name="T5" fmla="*/ 113 h 113"/>
                <a:gd name="T6" fmla="*/ 113 w 113"/>
                <a:gd name="T7" fmla="*/ 70 h 113"/>
                <a:gd name="T8" fmla="*/ 42 w 113"/>
                <a:gd name="T9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113">
                  <a:moveTo>
                    <a:pt x="42" y="0"/>
                  </a:moveTo>
                  <a:cubicBezTo>
                    <a:pt x="0" y="48"/>
                    <a:pt x="0" y="48"/>
                    <a:pt x="0" y="48"/>
                  </a:cubicBezTo>
                  <a:cubicBezTo>
                    <a:pt x="23" y="68"/>
                    <a:pt x="45" y="90"/>
                    <a:pt x="65" y="113"/>
                  </a:cubicBezTo>
                  <a:cubicBezTo>
                    <a:pt x="113" y="70"/>
                    <a:pt x="113" y="70"/>
                    <a:pt x="113" y="70"/>
                  </a:cubicBezTo>
                  <a:cubicBezTo>
                    <a:pt x="91" y="45"/>
                    <a:pt x="67" y="22"/>
                    <a:pt x="4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AF6F0887-66C1-CE91-465A-A1002EAD848D}"/>
              </a:ext>
            </a:extLst>
          </p:cNvPr>
          <p:cNvGrpSpPr/>
          <p:nvPr/>
        </p:nvGrpSpPr>
        <p:grpSpPr>
          <a:xfrm>
            <a:off x="5898648" y="1886100"/>
            <a:ext cx="453901" cy="462264"/>
            <a:chOff x="9164638" y="5856288"/>
            <a:chExt cx="1292226" cy="1316037"/>
          </a:xfrm>
          <a:solidFill>
            <a:schemeClr val="bg1"/>
          </a:solidFill>
        </p:grpSpPr>
        <p:sp>
          <p:nvSpPr>
            <p:cNvPr id="50" name="Freeform 298">
              <a:extLst>
                <a:ext uri="{FF2B5EF4-FFF2-40B4-BE49-F238E27FC236}">
                  <a16:creationId xmlns:a16="http://schemas.microsoft.com/office/drawing/2014/main" id="{ADB7D69B-92A0-FC37-7180-ED6E1FAA2F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25026" y="6311900"/>
              <a:ext cx="731838" cy="731837"/>
            </a:xfrm>
            <a:custGeom>
              <a:avLst/>
              <a:gdLst>
                <a:gd name="T0" fmla="*/ 544 w 1088"/>
                <a:gd name="T1" fmla="*/ 0 h 1088"/>
                <a:gd name="T2" fmla="*/ 512 w 1088"/>
                <a:gd name="T3" fmla="*/ 160 h 1088"/>
                <a:gd name="T4" fmla="*/ 640 w 1088"/>
                <a:gd name="T5" fmla="*/ 192 h 1088"/>
                <a:gd name="T6" fmla="*/ 640 w 1088"/>
                <a:gd name="T7" fmla="*/ 320 h 1088"/>
                <a:gd name="T8" fmla="*/ 512 w 1088"/>
                <a:gd name="T9" fmla="*/ 352 h 1088"/>
                <a:gd name="T10" fmla="*/ 32 w 1088"/>
                <a:gd name="T11" fmla="*/ 512 h 1088"/>
                <a:gd name="T12" fmla="*/ 0 w 1088"/>
                <a:gd name="T13" fmla="*/ 960 h 1088"/>
                <a:gd name="T14" fmla="*/ 960 w 1088"/>
                <a:gd name="T15" fmla="*/ 1088 h 1088"/>
                <a:gd name="T16" fmla="*/ 1088 w 1088"/>
                <a:gd name="T17" fmla="*/ 128 h 1088"/>
                <a:gd name="T18" fmla="*/ 640 w 1088"/>
                <a:gd name="T19" fmla="*/ 384 h 1088"/>
                <a:gd name="T20" fmla="*/ 640 w 1088"/>
                <a:gd name="T21" fmla="*/ 128 h 1088"/>
                <a:gd name="T22" fmla="*/ 576 w 1088"/>
                <a:gd name="T23" fmla="*/ 64 h 1088"/>
                <a:gd name="T24" fmla="*/ 1024 w 1088"/>
                <a:gd name="T25" fmla="*/ 128 h 1088"/>
                <a:gd name="T26" fmla="*/ 896 w 1088"/>
                <a:gd name="T27" fmla="*/ 512 h 1088"/>
                <a:gd name="T28" fmla="*/ 864 w 1088"/>
                <a:gd name="T29" fmla="*/ 640 h 1088"/>
                <a:gd name="T30" fmla="*/ 736 w 1088"/>
                <a:gd name="T31" fmla="*/ 640 h 1088"/>
                <a:gd name="T32" fmla="*/ 704 w 1088"/>
                <a:gd name="T33" fmla="*/ 512 h 1088"/>
                <a:gd name="T34" fmla="*/ 576 w 1088"/>
                <a:gd name="T35" fmla="*/ 384 h 1088"/>
                <a:gd name="T36" fmla="*/ 512 w 1088"/>
                <a:gd name="T37" fmla="*/ 1024 h 1088"/>
                <a:gd name="T38" fmla="*/ 64 w 1088"/>
                <a:gd name="T39" fmla="*/ 960 h 1088"/>
                <a:gd name="T40" fmla="*/ 512 w 1088"/>
                <a:gd name="T41" fmla="*/ 576 h 1088"/>
                <a:gd name="T42" fmla="*/ 448 w 1088"/>
                <a:gd name="T43" fmla="*/ 640 h 1088"/>
                <a:gd name="T44" fmla="*/ 448 w 1088"/>
                <a:gd name="T45" fmla="*/ 896 h 1088"/>
                <a:gd name="T46" fmla="*/ 512 w 1088"/>
                <a:gd name="T47" fmla="*/ 1024 h 1088"/>
                <a:gd name="T48" fmla="*/ 960 w 1088"/>
                <a:gd name="T49" fmla="*/ 1024 h 1088"/>
                <a:gd name="T50" fmla="*/ 576 w 1088"/>
                <a:gd name="T51" fmla="*/ 864 h 1088"/>
                <a:gd name="T52" fmla="*/ 448 w 1088"/>
                <a:gd name="T53" fmla="*/ 832 h 1088"/>
                <a:gd name="T54" fmla="*/ 448 w 1088"/>
                <a:gd name="T55" fmla="*/ 704 h 1088"/>
                <a:gd name="T56" fmla="*/ 576 w 1088"/>
                <a:gd name="T57" fmla="*/ 672 h 1088"/>
                <a:gd name="T58" fmla="*/ 672 w 1088"/>
                <a:gd name="T59" fmla="*/ 576 h 1088"/>
                <a:gd name="T60" fmla="*/ 800 w 1088"/>
                <a:gd name="T61" fmla="*/ 768 h 1088"/>
                <a:gd name="T62" fmla="*/ 928 w 1088"/>
                <a:gd name="T63" fmla="*/ 576 h 1088"/>
                <a:gd name="T64" fmla="*/ 1024 w 1088"/>
                <a:gd name="T65" fmla="*/ 960 h 10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8" h="1088">
                  <a:moveTo>
                    <a:pt x="960" y="0"/>
                  </a:moveTo>
                  <a:cubicBezTo>
                    <a:pt x="544" y="0"/>
                    <a:pt x="544" y="0"/>
                    <a:pt x="544" y="0"/>
                  </a:cubicBezTo>
                  <a:cubicBezTo>
                    <a:pt x="526" y="0"/>
                    <a:pt x="512" y="14"/>
                    <a:pt x="512" y="32"/>
                  </a:cubicBezTo>
                  <a:cubicBezTo>
                    <a:pt x="512" y="160"/>
                    <a:pt x="512" y="160"/>
                    <a:pt x="512" y="160"/>
                  </a:cubicBezTo>
                  <a:cubicBezTo>
                    <a:pt x="512" y="177"/>
                    <a:pt x="526" y="192"/>
                    <a:pt x="544" y="192"/>
                  </a:cubicBezTo>
                  <a:cubicBezTo>
                    <a:pt x="640" y="192"/>
                    <a:pt x="640" y="192"/>
                    <a:pt x="640" y="192"/>
                  </a:cubicBezTo>
                  <a:cubicBezTo>
                    <a:pt x="675" y="192"/>
                    <a:pt x="704" y="220"/>
                    <a:pt x="704" y="256"/>
                  </a:cubicBezTo>
                  <a:cubicBezTo>
                    <a:pt x="704" y="291"/>
                    <a:pt x="675" y="320"/>
                    <a:pt x="640" y="320"/>
                  </a:cubicBezTo>
                  <a:cubicBezTo>
                    <a:pt x="544" y="320"/>
                    <a:pt x="544" y="320"/>
                    <a:pt x="544" y="320"/>
                  </a:cubicBezTo>
                  <a:cubicBezTo>
                    <a:pt x="526" y="320"/>
                    <a:pt x="512" y="334"/>
                    <a:pt x="512" y="352"/>
                  </a:cubicBezTo>
                  <a:cubicBezTo>
                    <a:pt x="512" y="512"/>
                    <a:pt x="512" y="512"/>
                    <a:pt x="512" y="512"/>
                  </a:cubicBezTo>
                  <a:cubicBezTo>
                    <a:pt x="32" y="512"/>
                    <a:pt x="32" y="512"/>
                    <a:pt x="32" y="512"/>
                  </a:cubicBezTo>
                  <a:cubicBezTo>
                    <a:pt x="14" y="512"/>
                    <a:pt x="0" y="526"/>
                    <a:pt x="0" y="544"/>
                  </a:cubicBezTo>
                  <a:cubicBezTo>
                    <a:pt x="0" y="960"/>
                    <a:pt x="0" y="960"/>
                    <a:pt x="0" y="960"/>
                  </a:cubicBezTo>
                  <a:cubicBezTo>
                    <a:pt x="0" y="1030"/>
                    <a:pt x="57" y="1088"/>
                    <a:pt x="128" y="1088"/>
                  </a:cubicBezTo>
                  <a:cubicBezTo>
                    <a:pt x="960" y="1088"/>
                    <a:pt x="960" y="1088"/>
                    <a:pt x="960" y="1088"/>
                  </a:cubicBezTo>
                  <a:cubicBezTo>
                    <a:pt x="1030" y="1088"/>
                    <a:pt x="1088" y="1030"/>
                    <a:pt x="1088" y="960"/>
                  </a:cubicBezTo>
                  <a:cubicBezTo>
                    <a:pt x="1088" y="128"/>
                    <a:pt x="1088" y="128"/>
                    <a:pt x="1088" y="128"/>
                  </a:cubicBezTo>
                  <a:cubicBezTo>
                    <a:pt x="1088" y="57"/>
                    <a:pt x="1030" y="0"/>
                    <a:pt x="960" y="0"/>
                  </a:cubicBezTo>
                  <a:moveTo>
                    <a:pt x="640" y="384"/>
                  </a:moveTo>
                  <a:cubicBezTo>
                    <a:pt x="710" y="384"/>
                    <a:pt x="768" y="326"/>
                    <a:pt x="768" y="256"/>
                  </a:cubicBezTo>
                  <a:cubicBezTo>
                    <a:pt x="768" y="185"/>
                    <a:pt x="710" y="128"/>
                    <a:pt x="640" y="128"/>
                  </a:cubicBezTo>
                  <a:cubicBezTo>
                    <a:pt x="576" y="128"/>
                    <a:pt x="576" y="128"/>
                    <a:pt x="576" y="128"/>
                  </a:cubicBezTo>
                  <a:cubicBezTo>
                    <a:pt x="576" y="64"/>
                    <a:pt x="576" y="64"/>
                    <a:pt x="576" y="64"/>
                  </a:cubicBezTo>
                  <a:cubicBezTo>
                    <a:pt x="960" y="64"/>
                    <a:pt x="960" y="64"/>
                    <a:pt x="960" y="64"/>
                  </a:cubicBezTo>
                  <a:cubicBezTo>
                    <a:pt x="995" y="64"/>
                    <a:pt x="1024" y="92"/>
                    <a:pt x="1024" y="128"/>
                  </a:cubicBezTo>
                  <a:cubicBezTo>
                    <a:pt x="1024" y="512"/>
                    <a:pt x="1024" y="512"/>
                    <a:pt x="1024" y="512"/>
                  </a:cubicBezTo>
                  <a:cubicBezTo>
                    <a:pt x="896" y="512"/>
                    <a:pt x="896" y="512"/>
                    <a:pt x="896" y="512"/>
                  </a:cubicBezTo>
                  <a:cubicBezTo>
                    <a:pt x="878" y="512"/>
                    <a:pt x="864" y="526"/>
                    <a:pt x="864" y="544"/>
                  </a:cubicBezTo>
                  <a:cubicBezTo>
                    <a:pt x="864" y="640"/>
                    <a:pt x="864" y="640"/>
                    <a:pt x="864" y="640"/>
                  </a:cubicBezTo>
                  <a:cubicBezTo>
                    <a:pt x="864" y="675"/>
                    <a:pt x="835" y="704"/>
                    <a:pt x="800" y="704"/>
                  </a:cubicBezTo>
                  <a:cubicBezTo>
                    <a:pt x="764" y="704"/>
                    <a:pt x="736" y="675"/>
                    <a:pt x="736" y="640"/>
                  </a:cubicBezTo>
                  <a:cubicBezTo>
                    <a:pt x="736" y="544"/>
                    <a:pt x="736" y="544"/>
                    <a:pt x="736" y="544"/>
                  </a:cubicBezTo>
                  <a:cubicBezTo>
                    <a:pt x="736" y="526"/>
                    <a:pt x="721" y="512"/>
                    <a:pt x="704" y="512"/>
                  </a:cubicBezTo>
                  <a:cubicBezTo>
                    <a:pt x="576" y="512"/>
                    <a:pt x="576" y="512"/>
                    <a:pt x="576" y="512"/>
                  </a:cubicBezTo>
                  <a:cubicBezTo>
                    <a:pt x="576" y="384"/>
                    <a:pt x="576" y="384"/>
                    <a:pt x="576" y="384"/>
                  </a:cubicBezTo>
                  <a:lnTo>
                    <a:pt x="640" y="384"/>
                  </a:lnTo>
                  <a:close/>
                  <a:moveTo>
                    <a:pt x="512" y="1024"/>
                  </a:moveTo>
                  <a:cubicBezTo>
                    <a:pt x="128" y="1024"/>
                    <a:pt x="128" y="1024"/>
                    <a:pt x="128" y="1024"/>
                  </a:cubicBezTo>
                  <a:cubicBezTo>
                    <a:pt x="92" y="1024"/>
                    <a:pt x="64" y="995"/>
                    <a:pt x="64" y="960"/>
                  </a:cubicBezTo>
                  <a:cubicBezTo>
                    <a:pt x="64" y="576"/>
                    <a:pt x="64" y="576"/>
                    <a:pt x="64" y="576"/>
                  </a:cubicBezTo>
                  <a:cubicBezTo>
                    <a:pt x="512" y="576"/>
                    <a:pt x="512" y="576"/>
                    <a:pt x="512" y="576"/>
                  </a:cubicBezTo>
                  <a:cubicBezTo>
                    <a:pt x="512" y="640"/>
                    <a:pt x="512" y="640"/>
                    <a:pt x="512" y="640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377" y="640"/>
                    <a:pt x="320" y="697"/>
                    <a:pt x="320" y="768"/>
                  </a:cubicBezTo>
                  <a:cubicBezTo>
                    <a:pt x="320" y="838"/>
                    <a:pt x="377" y="896"/>
                    <a:pt x="448" y="896"/>
                  </a:cubicBezTo>
                  <a:cubicBezTo>
                    <a:pt x="512" y="896"/>
                    <a:pt x="512" y="896"/>
                    <a:pt x="512" y="896"/>
                  </a:cubicBezTo>
                  <a:lnTo>
                    <a:pt x="512" y="1024"/>
                  </a:lnTo>
                  <a:close/>
                  <a:moveTo>
                    <a:pt x="1024" y="960"/>
                  </a:moveTo>
                  <a:cubicBezTo>
                    <a:pt x="1024" y="995"/>
                    <a:pt x="995" y="1024"/>
                    <a:pt x="960" y="1024"/>
                  </a:cubicBezTo>
                  <a:cubicBezTo>
                    <a:pt x="576" y="1024"/>
                    <a:pt x="576" y="1024"/>
                    <a:pt x="576" y="1024"/>
                  </a:cubicBezTo>
                  <a:cubicBezTo>
                    <a:pt x="576" y="864"/>
                    <a:pt x="576" y="864"/>
                    <a:pt x="576" y="864"/>
                  </a:cubicBezTo>
                  <a:cubicBezTo>
                    <a:pt x="576" y="846"/>
                    <a:pt x="561" y="832"/>
                    <a:pt x="544" y="832"/>
                  </a:cubicBezTo>
                  <a:cubicBezTo>
                    <a:pt x="448" y="832"/>
                    <a:pt x="448" y="832"/>
                    <a:pt x="448" y="832"/>
                  </a:cubicBezTo>
                  <a:cubicBezTo>
                    <a:pt x="412" y="832"/>
                    <a:pt x="384" y="803"/>
                    <a:pt x="384" y="768"/>
                  </a:cubicBezTo>
                  <a:cubicBezTo>
                    <a:pt x="384" y="732"/>
                    <a:pt x="412" y="704"/>
                    <a:pt x="448" y="704"/>
                  </a:cubicBezTo>
                  <a:cubicBezTo>
                    <a:pt x="544" y="704"/>
                    <a:pt x="544" y="704"/>
                    <a:pt x="544" y="704"/>
                  </a:cubicBezTo>
                  <a:cubicBezTo>
                    <a:pt x="561" y="704"/>
                    <a:pt x="576" y="689"/>
                    <a:pt x="576" y="672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672" y="576"/>
                    <a:pt x="672" y="576"/>
                    <a:pt x="672" y="576"/>
                  </a:cubicBezTo>
                  <a:cubicBezTo>
                    <a:pt x="672" y="640"/>
                    <a:pt x="672" y="640"/>
                    <a:pt x="672" y="640"/>
                  </a:cubicBezTo>
                  <a:cubicBezTo>
                    <a:pt x="672" y="710"/>
                    <a:pt x="729" y="768"/>
                    <a:pt x="800" y="768"/>
                  </a:cubicBezTo>
                  <a:cubicBezTo>
                    <a:pt x="870" y="768"/>
                    <a:pt x="928" y="710"/>
                    <a:pt x="928" y="640"/>
                  </a:cubicBezTo>
                  <a:cubicBezTo>
                    <a:pt x="928" y="576"/>
                    <a:pt x="928" y="576"/>
                    <a:pt x="928" y="576"/>
                  </a:cubicBezTo>
                  <a:cubicBezTo>
                    <a:pt x="1024" y="576"/>
                    <a:pt x="1024" y="576"/>
                    <a:pt x="1024" y="576"/>
                  </a:cubicBezTo>
                  <a:lnTo>
                    <a:pt x="1024" y="9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1" name="Freeform 299">
              <a:extLst>
                <a:ext uri="{FF2B5EF4-FFF2-40B4-BE49-F238E27FC236}">
                  <a16:creationId xmlns:a16="http://schemas.microsoft.com/office/drawing/2014/main" id="{B09D3212-E143-3C40-57C5-3044E0184F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64638" y="5856288"/>
              <a:ext cx="1033463" cy="1316037"/>
            </a:xfrm>
            <a:custGeom>
              <a:avLst/>
              <a:gdLst>
                <a:gd name="T0" fmla="*/ 389 w 1541"/>
                <a:gd name="T1" fmla="*/ 1957 h 1957"/>
                <a:gd name="T2" fmla="*/ 335 w 1541"/>
                <a:gd name="T3" fmla="*/ 1783 h 1957"/>
                <a:gd name="T4" fmla="*/ 393 w 1541"/>
                <a:gd name="T5" fmla="*/ 1452 h 1957"/>
                <a:gd name="T6" fmla="*/ 395 w 1541"/>
                <a:gd name="T7" fmla="*/ 1285 h 1957"/>
                <a:gd name="T8" fmla="*/ 431 w 1541"/>
                <a:gd name="T9" fmla="*/ 1310 h 1957"/>
                <a:gd name="T10" fmla="*/ 485 w 1541"/>
                <a:gd name="T11" fmla="*/ 1667 h 1957"/>
                <a:gd name="T12" fmla="*/ 517 w 1541"/>
                <a:gd name="T13" fmla="*/ 1957 h 1957"/>
                <a:gd name="T14" fmla="*/ 901 w 1541"/>
                <a:gd name="T15" fmla="*/ 1925 h 1957"/>
                <a:gd name="T16" fmla="*/ 821 w 1541"/>
                <a:gd name="T17" fmla="*/ 1795 h 1957"/>
                <a:gd name="T18" fmla="*/ 727 w 1541"/>
                <a:gd name="T19" fmla="*/ 1678 h 1957"/>
                <a:gd name="T20" fmla="*/ 741 w 1541"/>
                <a:gd name="T21" fmla="*/ 1250 h 1957"/>
                <a:gd name="T22" fmla="*/ 925 w 1541"/>
                <a:gd name="T23" fmla="*/ 715 h 1957"/>
                <a:gd name="T24" fmla="*/ 1317 w 1541"/>
                <a:gd name="T25" fmla="*/ 613 h 1957"/>
                <a:gd name="T26" fmla="*/ 1349 w 1541"/>
                <a:gd name="T27" fmla="*/ 421 h 1957"/>
                <a:gd name="T28" fmla="*/ 1541 w 1541"/>
                <a:gd name="T29" fmla="*/ 293 h 1957"/>
                <a:gd name="T30" fmla="*/ 1349 w 1541"/>
                <a:gd name="T31" fmla="*/ 165 h 1957"/>
                <a:gd name="T32" fmla="*/ 1317 w 1541"/>
                <a:gd name="T33" fmla="*/ 37 h 1957"/>
                <a:gd name="T34" fmla="*/ 773 w 1541"/>
                <a:gd name="T35" fmla="*/ 165 h 1957"/>
                <a:gd name="T36" fmla="*/ 640 w 1541"/>
                <a:gd name="T37" fmla="*/ 587 h 1957"/>
                <a:gd name="T38" fmla="*/ 682 w 1541"/>
                <a:gd name="T39" fmla="*/ 178 h 1957"/>
                <a:gd name="T40" fmla="*/ 224 w 1541"/>
                <a:gd name="T41" fmla="*/ 407 h 1957"/>
                <a:gd name="T42" fmla="*/ 186 w 1541"/>
                <a:gd name="T43" fmla="*/ 677 h 1957"/>
                <a:gd name="T44" fmla="*/ 79 w 1541"/>
                <a:gd name="T45" fmla="*/ 1423 h 1957"/>
                <a:gd name="T46" fmla="*/ 8 w 1541"/>
                <a:gd name="T47" fmla="*/ 1910 h 1957"/>
                <a:gd name="T48" fmla="*/ 37 w 1541"/>
                <a:gd name="T49" fmla="*/ 1957 h 1957"/>
                <a:gd name="T50" fmla="*/ 898 w 1541"/>
                <a:gd name="T51" fmla="*/ 657 h 1957"/>
                <a:gd name="T52" fmla="*/ 394 w 1541"/>
                <a:gd name="T53" fmla="*/ 837 h 1957"/>
                <a:gd name="T54" fmla="*/ 420 w 1541"/>
                <a:gd name="T55" fmla="*/ 764 h 1957"/>
                <a:gd name="T56" fmla="*/ 907 w 1541"/>
                <a:gd name="T57" fmla="*/ 559 h 1957"/>
                <a:gd name="T58" fmla="*/ 899 w 1541"/>
                <a:gd name="T59" fmla="*/ 657 h 1957"/>
                <a:gd name="T60" fmla="*/ 1285 w 1541"/>
                <a:gd name="T61" fmla="*/ 101 h 1957"/>
                <a:gd name="T62" fmla="*/ 1317 w 1541"/>
                <a:gd name="T63" fmla="*/ 229 h 1957"/>
                <a:gd name="T64" fmla="*/ 1477 w 1541"/>
                <a:gd name="T65" fmla="*/ 293 h 1957"/>
                <a:gd name="T66" fmla="*/ 1317 w 1541"/>
                <a:gd name="T67" fmla="*/ 357 h 1957"/>
                <a:gd name="T68" fmla="*/ 1285 w 1541"/>
                <a:gd name="T69" fmla="*/ 549 h 1957"/>
                <a:gd name="T70" fmla="*/ 837 w 1541"/>
                <a:gd name="T71" fmla="*/ 493 h 1957"/>
                <a:gd name="T72" fmla="*/ 901 w 1541"/>
                <a:gd name="T73" fmla="*/ 101 h 1957"/>
                <a:gd name="T74" fmla="*/ 453 w 1541"/>
                <a:gd name="T75" fmla="*/ 101 h 1957"/>
                <a:gd name="T76" fmla="*/ 453 w 1541"/>
                <a:gd name="T77" fmla="*/ 485 h 1957"/>
                <a:gd name="T78" fmla="*/ 129 w 1541"/>
                <a:gd name="T79" fmla="*/ 1810 h 1957"/>
                <a:gd name="T80" fmla="*/ 119 w 1541"/>
                <a:gd name="T81" fmla="*/ 1098 h 1957"/>
                <a:gd name="T82" fmla="*/ 474 w 1541"/>
                <a:gd name="T83" fmla="*/ 552 h 1957"/>
                <a:gd name="T84" fmla="*/ 392 w 1541"/>
                <a:gd name="T85" fmla="*/ 707 h 1957"/>
                <a:gd name="T86" fmla="*/ 443 w 1541"/>
                <a:gd name="T87" fmla="*/ 933 h 1957"/>
                <a:gd name="T88" fmla="*/ 642 w 1541"/>
                <a:gd name="T89" fmla="*/ 851 h 1957"/>
                <a:gd name="T90" fmla="*/ 677 w 1541"/>
                <a:gd name="T91" fmla="*/ 1536 h 1957"/>
                <a:gd name="T92" fmla="*/ 630 w 1541"/>
                <a:gd name="T93" fmla="*/ 1836 h 1957"/>
                <a:gd name="T94" fmla="*/ 677 w 1541"/>
                <a:gd name="T95" fmla="*/ 1870 h 1957"/>
                <a:gd name="T96" fmla="*/ 792 w 1541"/>
                <a:gd name="T97" fmla="*/ 1852 h 1957"/>
                <a:gd name="T98" fmla="*/ 549 w 1541"/>
                <a:gd name="T99" fmla="*/ 1893 h 1957"/>
                <a:gd name="T100" fmla="*/ 537 w 1541"/>
                <a:gd name="T101" fmla="*/ 1538 h 1957"/>
                <a:gd name="T102" fmla="*/ 384 w 1541"/>
                <a:gd name="T103" fmla="*/ 1221 h 1957"/>
                <a:gd name="T104" fmla="*/ 307 w 1541"/>
                <a:gd name="T105" fmla="*/ 1333 h 1957"/>
                <a:gd name="T106" fmla="*/ 293 w 1541"/>
                <a:gd name="T107" fmla="*/ 1724 h 1957"/>
                <a:gd name="T108" fmla="*/ 276 w 1541"/>
                <a:gd name="T109" fmla="*/ 1829 h 1957"/>
                <a:gd name="T110" fmla="*/ 351 w 1541"/>
                <a:gd name="T111" fmla="*/ 1893 h 1957"/>
                <a:gd name="T112" fmla="*/ 129 w 1541"/>
                <a:gd name="T113" fmla="*/ 1810 h 19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41" h="1957">
                  <a:moveTo>
                    <a:pt x="37" y="1957"/>
                  </a:moveTo>
                  <a:cubicBezTo>
                    <a:pt x="389" y="1957"/>
                    <a:pt x="389" y="1957"/>
                    <a:pt x="389" y="1957"/>
                  </a:cubicBezTo>
                  <a:cubicBezTo>
                    <a:pt x="406" y="1957"/>
                    <a:pt x="421" y="1942"/>
                    <a:pt x="421" y="1925"/>
                  </a:cubicBezTo>
                  <a:cubicBezTo>
                    <a:pt x="421" y="1865"/>
                    <a:pt x="388" y="1811"/>
                    <a:pt x="335" y="1783"/>
                  </a:cubicBezTo>
                  <a:cubicBezTo>
                    <a:pt x="350" y="1753"/>
                    <a:pt x="350" y="1753"/>
                    <a:pt x="350" y="1753"/>
                  </a:cubicBezTo>
                  <a:cubicBezTo>
                    <a:pt x="397" y="1660"/>
                    <a:pt x="412" y="1554"/>
                    <a:pt x="393" y="1452"/>
                  </a:cubicBezTo>
                  <a:cubicBezTo>
                    <a:pt x="370" y="1321"/>
                    <a:pt x="370" y="1321"/>
                    <a:pt x="370" y="1321"/>
                  </a:cubicBezTo>
                  <a:cubicBezTo>
                    <a:pt x="367" y="1304"/>
                    <a:pt x="378" y="1288"/>
                    <a:pt x="395" y="1285"/>
                  </a:cubicBezTo>
                  <a:cubicBezTo>
                    <a:pt x="396" y="1285"/>
                    <a:pt x="398" y="1285"/>
                    <a:pt x="400" y="1285"/>
                  </a:cubicBezTo>
                  <a:cubicBezTo>
                    <a:pt x="415" y="1285"/>
                    <a:pt x="428" y="1295"/>
                    <a:pt x="431" y="1310"/>
                  </a:cubicBezTo>
                  <a:cubicBezTo>
                    <a:pt x="474" y="1549"/>
                    <a:pt x="474" y="1549"/>
                    <a:pt x="474" y="1549"/>
                  </a:cubicBezTo>
                  <a:cubicBezTo>
                    <a:pt x="481" y="1588"/>
                    <a:pt x="485" y="1627"/>
                    <a:pt x="485" y="1667"/>
                  </a:cubicBezTo>
                  <a:cubicBezTo>
                    <a:pt x="485" y="1925"/>
                    <a:pt x="485" y="1925"/>
                    <a:pt x="485" y="1925"/>
                  </a:cubicBezTo>
                  <a:cubicBezTo>
                    <a:pt x="485" y="1942"/>
                    <a:pt x="499" y="1957"/>
                    <a:pt x="517" y="1957"/>
                  </a:cubicBezTo>
                  <a:cubicBezTo>
                    <a:pt x="869" y="1957"/>
                    <a:pt x="869" y="1957"/>
                    <a:pt x="869" y="1957"/>
                  </a:cubicBezTo>
                  <a:cubicBezTo>
                    <a:pt x="886" y="1957"/>
                    <a:pt x="901" y="1942"/>
                    <a:pt x="901" y="1925"/>
                  </a:cubicBezTo>
                  <a:cubicBezTo>
                    <a:pt x="901" y="1918"/>
                    <a:pt x="900" y="1912"/>
                    <a:pt x="900" y="1906"/>
                  </a:cubicBezTo>
                  <a:cubicBezTo>
                    <a:pt x="894" y="1858"/>
                    <a:pt x="864" y="1816"/>
                    <a:pt x="821" y="1795"/>
                  </a:cubicBezTo>
                  <a:cubicBezTo>
                    <a:pt x="785" y="1776"/>
                    <a:pt x="744" y="1773"/>
                    <a:pt x="705" y="1784"/>
                  </a:cubicBezTo>
                  <a:cubicBezTo>
                    <a:pt x="727" y="1678"/>
                    <a:pt x="727" y="1678"/>
                    <a:pt x="727" y="1678"/>
                  </a:cubicBezTo>
                  <a:cubicBezTo>
                    <a:pt x="736" y="1631"/>
                    <a:pt x="741" y="1584"/>
                    <a:pt x="741" y="1536"/>
                  </a:cubicBezTo>
                  <a:cubicBezTo>
                    <a:pt x="741" y="1250"/>
                    <a:pt x="741" y="1250"/>
                    <a:pt x="741" y="1250"/>
                  </a:cubicBezTo>
                  <a:cubicBezTo>
                    <a:pt x="703" y="821"/>
                    <a:pt x="703" y="821"/>
                    <a:pt x="703" y="821"/>
                  </a:cubicBezTo>
                  <a:cubicBezTo>
                    <a:pt x="925" y="715"/>
                    <a:pt x="925" y="715"/>
                    <a:pt x="925" y="715"/>
                  </a:cubicBezTo>
                  <a:cubicBezTo>
                    <a:pt x="966" y="697"/>
                    <a:pt x="994" y="657"/>
                    <a:pt x="996" y="613"/>
                  </a:cubicBezTo>
                  <a:cubicBezTo>
                    <a:pt x="1317" y="613"/>
                    <a:pt x="1317" y="613"/>
                    <a:pt x="1317" y="613"/>
                  </a:cubicBezTo>
                  <a:cubicBezTo>
                    <a:pt x="1334" y="613"/>
                    <a:pt x="1349" y="598"/>
                    <a:pt x="1349" y="581"/>
                  </a:cubicBezTo>
                  <a:cubicBezTo>
                    <a:pt x="1349" y="421"/>
                    <a:pt x="1349" y="421"/>
                    <a:pt x="1349" y="421"/>
                  </a:cubicBezTo>
                  <a:cubicBezTo>
                    <a:pt x="1413" y="421"/>
                    <a:pt x="1413" y="421"/>
                    <a:pt x="1413" y="421"/>
                  </a:cubicBezTo>
                  <a:cubicBezTo>
                    <a:pt x="1483" y="421"/>
                    <a:pt x="1541" y="363"/>
                    <a:pt x="1541" y="293"/>
                  </a:cubicBezTo>
                  <a:cubicBezTo>
                    <a:pt x="1541" y="222"/>
                    <a:pt x="1483" y="165"/>
                    <a:pt x="1413" y="165"/>
                  </a:cubicBezTo>
                  <a:cubicBezTo>
                    <a:pt x="1349" y="165"/>
                    <a:pt x="1349" y="165"/>
                    <a:pt x="1349" y="165"/>
                  </a:cubicBezTo>
                  <a:cubicBezTo>
                    <a:pt x="1349" y="69"/>
                    <a:pt x="1349" y="69"/>
                    <a:pt x="1349" y="69"/>
                  </a:cubicBezTo>
                  <a:cubicBezTo>
                    <a:pt x="1349" y="51"/>
                    <a:pt x="1334" y="37"/>
                    <a:pt x="1317" y="37"/>
                  </a:cubicBezTo>
                  <a:cubicBezTo>
                    <a:pt x="901" y="37"/>
                    <a:pt x="901" y="37"/>
                    <a:pt x="901" y="37"/>
                  </a:cubicBezTo>
                  <a:cubicBezTo>
                    <a:pt x="830" y="37"/>
                    <a:pt x="773" y="94"/>
                    <a:pt x="773" y="165"/>
                  </a:cubicBezTo>
                  <a:cubicBezTo>
                    <a:pt x="773" y="523"/>
                    <a:pt x="773" y="523"/>
                    <a:pt x="773" y="523"/>
                  </a:cubicBezTo>
                  <a:cubicBezTo>
                    <a:pt x="640" y="587"/>
                    <a:pt x="640" y="587"/>
                    <a:pt x="640" y="587"/>
                  </a:cubicBezTo>
                  <a:cubicBezTo>
                    <a:pt x="620" y="561"/>
                    <a:pt x="596" y="538"/>
                    <a:pt x="567" y="521"/>
                  </a:cubicBezTo>
                  <a:cubicBezTo>
                    <a:pt x="694" y="458"/>
                    <a:pt x="745" y="304"/>
                    <a:pt x="682" y="178"/>
                  </a:cubicBezTo>
                  <a:cubicBezTo>
                    <a:pt x="618" y="51"/>
                    <a:pt x="464" y="0"/>
                    <a:pt x="338" y="64"/>
                  </a:cubicBezTo>
                  <a:cubicBezTo>
                    <a:pt x="212" y="127"/>
                    <a:pt x="161" y="281"/>
                    <a:pt x="224" y="407"/>
                  </a:cubicBezTo>
                  <a:cubicBezTo>
                    <a:pt x="246" y="451"/>
                    <a:pt x="280" y="487"/>
                    <a:pt x="321" y="512"/>
                  </a:cubicBezTo>
                  <a:cubicBezTo>
                    <a:pt x="254" y="545"/>
                    <a:pt x="205" y="605"/>
                    <a:pt x="186" y="677"/>
                  </a:cubicBezTo>
                  <a:cubicBezTo>
                    <a:pt x="58" y="1078"/>
                    <a:pt x="58" y="1078"/>
                    <a:pt x="58" y="1078"/>
                  </a:cubicBezTo>
                  <a:cubicBezTo>
                    <a:pt x="22" y="1192"/>
                    <a:pt x="30" y="1315"/>
                    <a:pt x="79" y="1423"/>
                  </a:cubicBezTo>
                  <a:cubicBezTo>
                    <a:pt x="131" y="1537"/>
                    <a:pt x="129" y="1669"/>
                    <a:pt x="72" y="1782"/>
                  </a:cubicBezTo>
                  <a:cubicBezTo>
                    <a:pt x="8" y="1910"/>
                    <a:pt x="8" y="1910"/>
                    <a:pt x="8" y="1910"/>
                  </a:cubicBezTo>
                  <a:cubicBezTo>
                    <a:pt x="0" y="1926"/>
                    <a:pt x="7" y="1945"/>
                    <a:pt x="22" y="1953"/>
                  </a:cubicBezTo>
                  <a:cubicBezTo>
                    <a:pt x="27" y="1955"/>
                    <a:pt x="32" y="1957"/>
                    <a:pt x="37" y="1957"/>
                  </a:cubicBezTo>
                  <a:moveTo>
                    <a:pt x="899" y="657"/>
                  </a:moveTo>
                  <a:cubicBezTo>
                    <a:pt x="898" y="657"/>
                    <a:pt x="898" y="657"/>
                    <a:pt x="898" y="657"/>
                  </a:cubicBezTo>
                  <a:cubicBezTo>
                    <a:pt x="467" y="863"/>
                    <a:pt x="467" y="863"/>
                    <a:pt x="467" y="863"/>
                  </a:cubicBezTo>
                  <a:cubicBezTo>
                    <a:pt x="440" y="876"/>
                    <a:pt x="407" y="865"/>
                    <a:pt x="394" y="837"/>
                  </a:cubicBezTo>
                  <a:cubicBezTo>
                    <a:pt x="390" y="830"/>
                    <a:pt x="389" y="822"/>
                    <a:pt x="389" y="814"/>
                  </a:cubicBezTo>
                  <a:cubicBezTo>
                    <a:pt x="389" y="793"/>
                    <a:pt x="401" y="774"/>
                    <a:pt x="420" y="764"/>
                  </a:cubicBezTo>
                  <a:cubicBezTo>
                    <a:pt x="854" y="554"/>
                    <a:pt x="854" y="554"/>
                    <a:pt x="854" y="554"/>
                  </a:cubicBezTo>
                  <a:cubicBezTo>
                    <a:pt x="872" y="547"/>
                    <a:pt x="892" y="548"/>
                    <a:pt x="907" y="559"/>
                  </a:cubicBezTo>
                  <a:cubicBezTo>
                    <a:pt x="923" y="569"/>
                    <a:pt x="933" y="587"/>
                    <a:pt x="933" y="606"/>
                  </a:cubicBezTo>
                  <a:cubicBezTo>
                    <a:pt x="933" y="628"/>
                    <a:pt x="919" y="648"/>
                    <a:pt x="899" y="657"/>
                  </a:cubicBezTo>
                  <a:moveTo>
                    <a:pt x="901" y="101"/>
                  </a:moveTo>
                  <a:cubicBezTo>
                    <a:pt x="1285" y="101"/>
                    <a:pt x="1285" y="101"/>
                    <a:pt x="1285" y="101"/>
                  </a:cubicBezTo>
                  <a:cubicBezTo>
                    <a:pt x="1285" y="197"/>
                    <a:pt x="1285" y="197"/>
                    <a:pt x="1285" y="197"/>
                  </a:cubicBezTo>
                  <a:cubicBezTo>
                    <a:pt x="1285" y="214"/>
                    <a:pt x="1299" y="229"/>
                    <a:pt x="1317" y="229"/>
                  </a:cubicBezTo>
                  <a:cubicBezTo>
                    <a:pt x="1413" y="229"/>
                    <a:pt x="1413" y="229"/>
                    <a:pt x="1413" y="229"/>
                  </a:cubicBezTo>
                  <a:cubicBezTo>
                    <a:pt x="1448" y="229"/>
                    <a:pt x="1477" y="257"/>
                    <a:pt x="1477" y="293"/>
                  </a:cubicBezTo>
                  <a:cubicBezTo>
                    <a:pt x="1477" y="328"/>
                    <a:pt x="1448" y="357"/>
                    <a:pt x="1413" y="357"/>
                  </a:cubicBezTo>
                  <a:cubicBezTo>
                    <a:pt x="1317" y="357"/>
                    <a:pt x="1317" y="357"/>
                    <a:pt x="1317" y="357"/>
                  </a:cubicBezTo>
                  <a:cubicBezTo>
                    <a:pt x="1299" y="357"/>
                    <a:pt x="1285" y="371"/>
                    <a:pt x="1285" y="389"/>
                  </a:cubicBezTo>
                  <a:cubicBezTo>
                    <a:pt x="1285" y="549"/>
                    <a:pt x="1285" y="549"/>
                    <a:pt x="1285" y="549"/>
                  </a:cubicBezTo>
                  <a:cubicBezTo>
                    <a:pt x="982" y="549"/>
                    <a:pt x="982" y="549"/>
                    <a:pt x="982" y="549"/>
                  </a:cubicBezTo>
                  <a:cubicBezTo>
                    <a:pt x="954" y="497"/>
                    <a:pt x="892" y="473"/>
                    <a:pt x="837" y="493"/>
                  </a:cubicBezTo>
                  <a:cubicBezTo>
                    <a:pt x="837" y="165"/>
                    <a:pt x="837" y="165"/>
                    <a:pt x="837" y="165"/>
                  </a:cubicBezTo>
                  <a:cubicBezTo>
                    <a:pt x="837" y="129"/>
                    <a:pt x="865" y="101"/>
                    <a:pt x="901" y="101"/>
                  </a:cubicBezTo>
                  <a:moveTo>
                    <a:pt x="261" y="293"/>
                  </a:moveTo>
                  <a:cubicBezTo>
                    <a:pt x="261" y="187"/>
                    <a:pt x="347" y="101"/>
                    <a:pt x="453" y="101"/>
                  </a:cubicBezTo>
                  <a:cubicBezTo>
                    <a:pt x="559" y="101"/>
                    <a:pt x="645" y="187"/>
                    <a:pt x="645" y="293"/>
                  </a:cubicBezTo>
                  <a:cubicBezTo>
                    <a:pt x="645" y="399"/>
                    <a:pt x="559" y="485"/>
                    <a:pt x="453" y="485"/>
                  </a:cubicBezTo>
                  <a:cubicBezTo>
                    <a:pt x="347" y="484"/>
                    <a:pt x="261" y="399"/>
                    <a:pt x="261" y="293"/>
                  </a:cubicBezTo>
                  <a:moveTo>
                    <a:pt x="129" y="1810"/>
                  </a:moveTo>
                  <a:cubicBezTo>
                    <a:pt x="195" y="1681"/>
                    <a:pt x="197" y="1528"/>
                    <a:pt x="137" y="1396"/>
                  </a:cubicBezTo>
                  <a:cubicBezTo>
                    <a:pt x="94" y="1303"/>
                    <a:pt x="88" y="1196"/>
                    <a:pt x="119" y="1098"/>
                  </a:cubicBezTo>
                  <a:cubicBezTo>
                    <a:pt x="247" y="695"/>
                    <a:pt x="247" y="695"/>
                    <a:pt x="247" y="695"/>
                  </a:cubicBezTo>
                  <a:cubicBezTo>
                    <a:pt x="274" y="595"/>
                    <a:pt x="373" y="533"/>
                    <a:pt x="474" y="552"/>
                  </a:cubicBezTo>
                  <a:cubicBezTo>
                    <a:pt x="516" y="561"/>
                    <a:pt x="553" y="583"/>
                    <a:pt x="581" y="615"/>
                  </a:cubicBezTo>
                  <a:cubicBezTo>
                    <a:pt x="392" y="707"/>
                    <a:pt x="392" y="707"/>
                    <a:pt x="392" y="707"/>
                  </a:cubicBezTo>
                  <a:cubicBezTo>
                    <a:pt x="351" y="727"/>
                    <a:pt x="325" y="768"/>
                    <a:pt x="325" y="814"/>
                  </a:cubicBezTo>
                  <a:cubicBezTo>
                    <a:pt x="324" y="879"/>
                    <a:pt x="377" y="932"/>
                    <a:pt x="443" y="933"/>
                  </a:cubicBezTo>
                  <a:cubicBezTo>
                    <a:pt x="461" y="933"/>
                    <a:pt x="478" y="929"/>
                    <a:pt x="495" y="921"/>
                  </a:cubicBezTo>
                  <a:cubicBezTo>
                    <a:pt x="642" y="851"/>
                    <a:pt x="642" y="851"/>
                    <a:pt x="642" y="851"/>
                  </a:cubicBezTo>
                  <a:cubicBezTo>
                    <a:pt x="677" y="1253"/>
                    <a:pt x="677" y="1253"/>
                    <a:pt x="677" y="1253"/>
                  </a:cubicBezTo>
                  <a:cubicBezTo>
                    <a:pt x="677" y="1536"/>
                    <a:pt x="677" y="1536"/>
                    <a:pt x="677" y="1536"/>
                  </a:cubicBezTo>
                  <a:cubicBezTo>
                    <a:pt x="677" y="1580"/>
                    <a:pt x="672" y="1623"/>
                    <a:pt x="664" y="1665"/>
                  </a:cubicBezTo>
                  <a:cubicBezTo>
                    <a:pt x="630" y="1836"/>
                    <a:pt x="630" y="1836"/>
                    <a:pt x="630" y="1836"/>
                  </a:cubicBezTo>
                  <a:cubicBezTo>
                    <a:pt x="626" y="1853"/>
                    <a:pt x="637" y="1870"/>
                    <a:pt x="655" y="1873"/>
                  </a:cubicBezTo>
                  <a:cubicBezTo>
                    <a:pt x="662" y="1875"/>
                    <a:pt x="670" y="1874"/>
                    <a:pt x="677" y="1870"/>
                  </a:cubicBezTo>
                  <a:cubicBezTo>
                    <a:pt x="705" y="1854"/>
                    <a:pt x="705" y="1854"/>
                    <a:pt x="705" y="1854"/>
                  </a:cubicBezTo>
                  <a:cubicBezTo>
                    <a:pt x="732" y="1838"/>
                    <a:pt x="764" y="1838"/>
                    <a:pt x="792" y="1852"/>
                  </a:cubicBezTo>
                  <a:cubicBezTo>
                    <a:pt x="809" y="1860"/>
                    <a:pt x="823" y="1875"/>
                    <a:pt x="831" y="1893"/>
                  </a:cubicBezTo>
                  <a:cubicBezTo>
                    <a:pt x="549" y="1893"/>
                    <a:pt x="549" y="1893"/>
                    <a:pt x="549" y="1893"/>
                  </a:cubicBezTo>
                  <a:cubicBezTo>
                    <a:pt x="549" y="1667"/>
                    <a:pt x="549" y="1667"/>
                    <a:pt x="549" y="1667"/>
                  </a:cubicBezTo>
                  <a:cubicBezTo>
                    <a:pt x="549" y="1623"/>
                    <a:pt x="545" y="1580"/>
                    <a:pt x="537" y="1538"/>
                  </a:cubicBezTo>
                  <a:cubicBezTo>
                    <a:pt x="494" y="1299"/>
                    <a:pt x="494" y="1299"/>
                    <a:pt x="494" y="1299"/>
                  </a:cubicBezTo>
                  <a:cubicBezTo>
                    <a:pt x="485" y="1247"/>
                    <a:pt x="435" y="1212"/>
                    <a:pt x="384" y="1221"/>
                  </a:cubicBezTo>
                  <a:cubicBezTo>
                    <a:pt x="332" y="1230"/>
                    <a:pt x="297" y="1279"/>
                    <a:pt x="306" y="1331"/>
                  </a:cubicBezTo>
                  <a:cubicBezTo>
                    <a:pt x="306" y="1331"/>
                    <a:pt x="307" y="1332"/>
                    <a:pt x="307" y="1333"/>
                  </a:cubicBezTo>
                  <a:cubicBezTo>
                    <a:pt x="330" y="1463"/>
                    <a:pt x="330" y="1463"/>
                    <a:pt x="330" y="1463"/>
                  </a:cubicBezTo>
                  <a:cubicBezTo>
                    <a:pt x="346" y="1552"/>
                    <a:pt x="333" y="1643"/>
                    <a:pt x="293" y="1724"/>
                  </a:cubicBezTo>
                  <a:cubicBezTo>
                    <a:pt x="262" y="1786"/>
                    <a:pt x="262" y="1786"/>
                    <a:pt x="262" y="1786"/>
                  </a:cubicBezTo>
                  <a:cubicBezTo>
                    <a:pt x="254" y="1802"/>
                    <a:pt x="260" y="1821"/>
                    <a:pt x="276" y="1829"/>
                  </a:cubicBezTo>
                  <a:cubicBezTo>
                    <a:pt x="278" y="1830"/>
                    <a:pt x="281" y="1831"/>
                    <a:pt x="283" y="1832"/>
                  </a:cubicBezTo>
                  <a:cubicBezTo>
                    <a:pt x="315" y="1839"/>
                    <a:pt x="340" y="1862"/>
                    <a:pt x="351" y="1893"/>
                  </a:cubicBezTo>
                  <a:cubicBezTo>
                    <a:pt x="88" y="1893"/>
                    <a:pt x="88" y="1893"/>
                    <a:pt x="88" y="1893"/>
                  </a:cubicBezTo>
                  <a:lnTo>
                    <a:pt x="129" y="18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2" name="Freeform 300">
              <a:extLst>
                <a:ext uri="{FF2B5EF4-FFF2-40B4-BE49-F238E27FC236}">
                  <a16:creationId xmlns:a16="http://schemas.microsoft.com/office/drawing/2014/main" id="{AD435ED2-EFD2-9740-25E5-BE01D5AFC65D}"/>
                </a:ext>
              </a:extLst>
            </p:cNvPr>
            <p:cNvSpPr>
              <a:spLocks/>
            </p:cNvSpPr>
            <p:nvPr/>
          </p:nvSpPr>
          <p:spPr bwMode="auto">
            <a:xfrm>
              <a:off x="9731376" y="6397625"/>
              <a:ext cx="331788" cy="239712"/>
            </a:xfrm>
            <a:custGeom>
              <a:avLst/>
              <a:gdLst>
                <a:gd name="T0" fmla="*/ 151 w 493"/>
                <a:gd name="T1" fmla="*/ 178 h 355"/>
                <a:gd name="T2" fmla="*/ 45 w 493"/>
                <a:gd name="T3" fmla="*/ 73 h 355"/>
                <a:gd name="T4" fmla="*/ 0 w 493"/>
                <a:gd name="T5" fmla="*/ 118 h 355"/>
                <a:gd name="T6" fmla="*/ 224 w 493"/>
                <a:gd name="T7" fmla="*/ 342 h 355"/>
                <a:gd name="T8" fmla="*/ 269 w 493"/>
                <a:gd name="T9" fmla="*/ 342 h 355"/>
                <a:gd name="T10" fmla="*/ 493 w 493"/>
                <a:gd name="T11" fmla="*/ 118 h 355"/>
                <a:gd name="T12" fmla="*/ 448 w 493"/>
                <a:gd name="T13" fmla="*/ 73 h 355"/>
                <a:gd name="T14" fmla="*/ 343 w 493"/>
                <a:gd name="T15" fmla="*/ 178 h 355"/>
                <a:gd name="T16" fmla="*/ 343 w 493"/>
                <a:gd name="T17" fmla="*/ 0 h 355"/>
                <a:gd name="T18" fmla="*/ 279 w 493"/>
                <a:gd name="T19" fmla="*/ 0 h 355"/>
                <a:gd name="T20" fmla="*/ 279 w 493"/>
                <a:gd name="T21" fmla="*/ 242 h 355"/>
                <a:gd name="T22" fmla="*/ 247 w 493"/>
                <a:gd name="T23" fmla="*/ 274 h 355"/>
                <a:gd name="T24" fmla="*/ 215 w 493"/>
                <a:gd name="T25" fmla="*/ 242 h 355"/>
                <a:gd name="T26" fmla="*/ 215 w 493"/>
                <a:gd name="T27" fmla="*/ 128 h 355"/>
                <a:gd name="T28" fmla="*/ 151 w 493"/>
                <a:gd name="T29" fmla="*/ 128 h 355"/>
                <a:gd name="T30" fmla="*/ 151 w 493"/>
                <a:gd name="T31" fmla="*/ 178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93" h="355">
                  <a:moveTo>
                    <a:pt x="151" y="178"/>
                  </a:moveTo>
                  <a:cubicBezTo>
                    <a:pt x="45" y="73"/>
                    <a:pt x="45" y="73"/>
                    <a:pt x="45" y="73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224" y="342"/>
                    <a:pt x="224" y="342"/>
                    <a:pt x="224" y="342"/>
                  </a:cubicBezTo>
                  <a:cubicBezTo>
                    <a:pt x="237" y="355"/>
                    <a:pt x="257" y="355"/>
                    <a:pt x="269" y="342"/>
                  </a:cubicBezTo>
                  <a:cubicBezTo>
                    <a:pt x="493" y="118"/>
                    <a:pt x="493" y="118"/>
                    <a:pt x="493" y="118"/>
                  </a:cubicBezTo>
                  <a:cubicBezTo>
                    <a:pt x="448" y="73"/>
                    <a:pt x="448" y="73"/>
                    <a:pt x="448" y="73"/>
                  </a:cubicBezTo>
                  <a:cubicBezTo>
                    <a:pt x="343" y="178"/>
                    <a:pt x="343" y="178"/>
                    <a:pt x="343" y="178"/>
                  </a:cubicBezTo>
                  <a:cubicBezTo>
                    <a:pt x="343" y="0"/>
                    <a:pt x="343" y="0"/>
                    <a:pt x="343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9" y="242"/>
                    <a:pt x="279" y="242"/>
                    <a:pt x="279" y="242"/>
                  </a:cubicBezTo>
                  <a:cubicBezTo>
                    <a:pt x="247" y="274"/>
                    <a:pt x="247" y="274"/>
                    <a:pt x="247" y="274"/>
                  </a:cubicBezTo>
                  <a:cubicBezTo>
                    <a:pt x="215" y="242"/>
                    <a:pt x="215" y="242"/>
                    <a:pt x="215" y="242"/>
                  </a:cubicBezTo>
                  <a:cubicBezTo>
                    <a:pt x="215" y="128"/>
                    <a:pt x="215" y="128"/>
                    <a:pt x="215" y="128"/>
                  </a:cubicBezTo>
                  <a:cubicBezTo>
                    <a:pt x="151" y="128"/>
                    <a:pt x="151" y="128"/>
                    <a:pt x="151" y="128"/>
                  </a:cubicBezTo>
                  <a:lnTo>
                    <a:pt x="151" y="1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3" name="Rectangle 301">
              <a:extLst>
                <a:ext uri="{FF2B5EF4-FFF2-40B4-BE49-F238E27FC236}">
                  <a16:creationId xmlns:a16="http://schemas.microsoft.com/office/drawing/2014/main" id="{EA2652AC-79C7-02AF-5824-9EC91FF310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32976" y="6397625"/>
              <a:ext cx="4286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4" name="Rectangle 302">
              <a:extLst>
                <a:ext uri="{FF2B5EF4-FFF2-40B4-BE49-F238E27FC236}">
                  <a16:creationId xmlns:a16="http://schemas.microsoft.com/office/drawing/2014/main" id="{36F597E3-9867-55F9-8430-8E7DE08D62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32976" y="6311900"/>
              <a:ext cx="4286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5" name="Rectangle 303">
              <a:extLst>
                <a:ext uri="{FF2B5EF4-FFF2-40B4-BE49-F238E27FC236}">
                  <a16:creationId xmlns:a16="http://schemas.microsoft.com/office/drawing/2014/main" id="{CD1C3959-F703-D889-29AC-9EDAE3F110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18701" y="6311900"/>
              <a:ext cx="4286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42129020-E69C-3858-CB0D-DF4EE2EABD3B}"/>
              </a:ext>
            </a:extLst>
          </p:cNvPr>
          <p:cNvGrpSpPr/>
          <p:nvPr/>
        </p:nvGrpSpPr>
        <p:grpSpPr>
          <a:xfrm>
            <a:off x="5116417" y="5107459"/>
            <a:ext cx="411523" cy="431037"/>
            <a:chOff x="836613" y="6088063"/>
            <a:chExt cx="1171575" cy="1227138"/>
          </a:xfrm>
          <a:solidFill>
            <a:schemeClr val="bg1"/>
          </a:solidFill>
        </p:grpSpPr>
        <p:sp>
          <p:nvSpPr>
            <p:cNvPr id="57" name="Freeform 348">
              <a:extLst>
                <a:ext uri="{FF2B5EF4-FFF2-40B4-BE49-F238E27FC236}">
                  <a16:creationId xmlns:a16="http://schemas.microsoft.com/office/drawing/2014/main" id="{3FD45C8A-1906-218F-C7F4-633EF633D6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1538" y="6088063"/>
              <a:ext cx="1095375" cy="1227138"/>
            </a:xfrm>
            <a:custGeom>
              <a:avLst/>
              <a:gdLst>
                <a:gd name="T0" fmla="*/ 470 w 1795"/>
                <a:gd name="T1" fmla="*/ 273 h 2008"/>
                <a:gd name="T2" fmla="*/ 52 w 1795"/>
                <a:gd name="T3" fmla="*/ 346 h 2008"/>
                <a:gd name="T4" fmla="*/ 6 w 1795"/>
                <a:gd name="T5" fmla="*/ 721 h 2008"/>
                <a:gd name="T6" fmla="*/ 1496 w 1795"/>
                <a:gd name="T7" fmla="*/ 1523 h 2008"/>
                <a:gd name="T8" fmla="*/ 1788 w 1795"/>
                <a:gd name="T9" fmla="*/ 721 h 2008"/>
                <a:gd name="T10" fmla="*/ 1756 w 1795"/>
                <a:gd name="T11" fmla="*/ 345 h 2008"/>
                <a:gd name="T12" fmla="*/ 1321 w 1795"/>
                <a:gd name="T13" fmla="*/ 280 h 2008"/>
                <a:gd name="T14" fmla="*/ 1261 w 1795"/>
                <a:gd name="T15" fmla="*/ 257 h 2008"/>
                <a:gd name="T16" fmla="*/ 871 w 1795"/>
                <a:gd name="T17" fmla="*/ 0 h 2008"/>
                <a:gd name="T18" fmla="*/ 446 w 1795"/>
                <a:gd name="T19" fmla="*/ 82 h 2008"/>
                <a:gd name="T20" fmla="*/ 506 w 1795"/>
                <a:gd name="T21" fmla="*/ 864 h 2008"/>
                <a:gd name="T22" fmla="*/ 603 w 1795"/>
                <a:gd name="T23" fmla="*/ 1618 h 2008"/>
                <a:gd name="T24" fmla="*/ 552 w 1795"/>
                <a:gd name="T25" fmla="*/ 1312 h 2008"/>
                <a:gd name="T26" fmla="*/ 871 w 1795"/>
                <a:gd name="T27" fmla="*/ 1665 h 2008"/>
                <a:gd name="T28" fmla="*/ 1111 w 1795"/>
                <a:gd name="T29" fmla="*/ 1673 h 2008"/>
                <a:gd name="T30" fmla="*/ 935 w 1795"/>
                <a:gd name="T31" fmla="*/ 1601 h 2008"/>
                <a:gd name="T32" fmla="*/ 1137 w 1795"/>
                <a:gd name="T33" fmla="*/ 1611 h 2008"/>
                <a:gd name="T34" fmla="*/ 935 w 1795"/>
                <a:gd name="T35" fmla="*/ 960 h 2008"/>
                <a:gd name="T36" fmla="*/ 935 w 1795"/>
                <a:gd name="T37" fmla="*/ 1248 h 2008"/>
                <a:gd name="T38" fmla="*/ 1111 w 1795"/>
                <a:gd name="T39" fmla="*/ 888 h 2008"/>
                <a:gd name="T40" fmla="*/ 871 w 1795"/>
                <a:gd name="T41" fmla="*/ 896 h 2008"/>
                <a:gd name="T42" fmla="*/ 871 w 1795"/>
                <a:gd name="T43" fmla="*/ 960 h 2008"/>
                <a:gd name="T44" fmla="*/ 669 w 1795"/>
                <a:gd name="T45" fmla="*/ 950 h 2008"/>
                <a:gd name="T46" fmla="*/ 871 w 1795"/>
                <a:gd name="T47" fmla="*/ 1601 h 2008"/>
                <a:gd name="T48" fmla="*/ 871 w 1795"/>
                <a:gd name="T49" fmla="*/ 1312 h 2008"/>
                <a:gd name="T50" fmla="*/ 506 w 1795"/>
                <a:gd name="T51" fmla="*/ 1697 h 2008"/>
                <a:gd name="T52" fmla="*/ 1300 w 1795"/>
                <a:gd name="T53" fmla="*/ 1697 h 2008"/>
                <a:gd name="T54" fmla="*/ 1203 w 1795"/>
                <a:gd name="T55" fmla="*/ 1618 h 2008"/>
                <a:gd name="T56" fmla="*/ 1351 w 1795"/>
                <a:gd name="T57" fmla="*/ 1641 h 2008"/>
                <a:gd name="T58" fmla="*/ 1203 w 1795"/>
                <a:gd name="T59" fmla="*/ 943 h 2008"/>
                <a:gd name="T60" fmla="*/ 1254 w 1795"/>
                <a:gd name="T61" fmla="*/ 1248 h 2008"/>
                <a:gd name="T62" fmla="*/ 1090 w 1795"/>
                <a:gd name="T63" fmla="*/ 736 h 2008"/>
                <a:gd name="T64" fmla="*/ 603 w 1795"/>
                <a:gd name="T65" fmla="*/ 943 h 2008"/>
                <a:gd name="T66" fmla="*/ 455 w 1795"/>
                <a:gd name="T67" fmla="*/ 920 h 2008"/>
                <a:gd name="T68" fmla="*/ 1468 w 1795"/>
                <a:gd name="T69" fmla="*/ 981 h 2008"/>
                <a:gd name="T70" fmla="*/ 903 w 1795"/>
                <a:gd name="T71" fmla="*/ 320 h 2008"/>
                <a:gd name="T72" fmla="*/ 1050 w 1795"/>
                <a:gd name="T73" fmla="*/ 414 h 2008"/>
                <a:gd name="T74" fmla="*/ 1173 w 1795"/>
                <a:gd name="T75" fmla="*/ 597 h 2008"/>
                <a:gd name="T76" fmla="*/ 1287 w 1795"/>
                <a:gd name="T77" fmla="*/ 770 h 2008"/>
                <a:gd name="T78" fmla="*/ 529 w 1795"/>
                <a:gd name="T79" fmla="*/ 680 h 2008"/>
                <a:gd name="T80" fmla="*/ 459 w 1795"/>
                <a:gd name="T81" fmla="*/ 821 h 2008"/>
                <a:gd name="T82" fmla="*/ 881 w 1795"/>
                <a:gd name="T83" fmla="*/ 256 h 2008"/>
                <a:gd name="T84" fmla="*/ 1127 w 1795"/>
                <a:gd name="T85" fmla="*/ 544 h 2008"/>
                <a:gd name="T86" fmla="*/ 1159 w 1795"/>
                <a:gd name="T87" fmla="*/ 512 h 2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795" h="2008">
                  <a:moveTo>
                    <a:pt x="446" y="82"/>
                  </a:moveTo>
                  <a:cubicBezTo>
                    <a:pt x="389" y="111"/>
                    <a:pt x="389" y="111"/>
                    <a:pt x="389" y="111"/>
                  </a:cubicBezTo>
                  <a:cubicBezTo>
                    <a:pt x="470" y="273"/>
                    <a:pt x="470" y="273"/>
                    <a:pt x="470" y="273"/>
                  </a:cubicBezTo>
                  <a:cubicBezTo>
                    <a:pt x="389" y="308"/>
                    <a:pt x="313" y="355"/>
                    <a:pt x="245" y="411"/>
                  </a:cubicBezTo>
                  <a:cubicBezTo>
                    <a:pt x="90" y="295"/>
                    <a:pt x="90" y="295"/>
                    <a:pt x="90" y="295"/>
                  </a:cubicBezTo>
                  <a:cubicBezTo>
                    <a:pt x="52" y="346"/>
                    <a:pt x="52" y="346"/>
                    <a:pt x="52" y="346"/>
                  </a:cubicBezTo>
                  <a:cubicBezTo>
                    <a:pt x="196" y="454"/>
                    <a:pt x="196" y="454"/>
                    <a:pt x="196" y="454"/>
                  </a:cubicBezTo>
                  <a:cubicBezTo>
                    <a:pt x="123" y="523"/>
                    <a:pt x="59" y="602"/>
                    <a:pt x="6" y="687"/>
                  </a:cubicBezTo>
                  <a:cubicBezTo>
                    <a:pt x="0" y="698"/>
                    <a:pt x="0" y="711"/>
                    <a:pt x="6" y="721"/>
                  </a:cubicBezTo>
                  <a:cubicBezTo>
                    <a:pt x="84" y="848"/>
                    <a:pt x="188" y="956"/>
                    <a:pt x="310" y="1040"/>
                  </a:cubicBezTo>
                  <a:cubicBezTo>
                    <a:pt x="177" y="1367"/>
                    <a:pt x="334" y="1740"/>
                    <a:pt x="661" y="1874"/>
                  </a:cubicBezTo>
                  <a:cubicBezTo>
                    <a:pt x="988" y="2008"/>
                    <a:pt x="1362" y="1850"/>
                    <a:pt x="1496" y="1523"/>
                  </a:cubicBezTo>
                  <a:cubicBezTo>
                    <a:pt x="1559" y="1368"/>
                    <a:pt x="1559" y="1195"/>
                    <a:pt x="1496" y="1040"/>
                  </a:cubicBezTo>
                  <a:cubicBezTo>
                    <a:pt x="1519" y="1023"/>
                    <a:pt x="1542" y="1006"/>
                    <a:pt x="1564" y="987"/>
                  </a:cubicBezTo>
                  <a:cubicBezTo>
                    <a:pt x="1652" y="910"/>
                    <a:pt x="1727" y="821"/>
                    <a:pt x="1788" y="721"/>
                  </a:cubicBezTo>
                  <a:cubicBezTo>
                    <a:pt x="1795" y="711"/>
                    <a:pt x="1795" y="698"/>
                    <a:pt x="1788" y="687"/>
                  </a:cubicBezTo>
                  <a:cubicBezTo>
                    <a:pt x="1739" y="608"/>
                    <a:pt x="1679" y="535"/>
                    <a:pt x="1611" y="471"/>
                  </a:cubicBezTo>
                  <a:cubicBezTo>
                    <a:pt x="1756" y="345"/>
                    <a:pt x="1756" y="345"/>
                    <a:pt x="1756" y="345"/>
                  </a:cubicBezTo>
                  <a:cubicBezTo>
                    <a:pt x="1714" y="296"/>
                    <a:pt x="1714" y="296"/>
                    <a:pt x="1714" y="296"/>
                  </a:cubicBezTo>
                  <a:cubicBezTo>
                    <a:pt x="1563" y="428"/>
                    <a:pt x="1563" y="428"/>
                    <a:pt x="1563" y="428"/>
                  </a:cubicBezTo>
                  <a:cubicBezTo>
                    <a:pt x="1490" y="368"/>
                    <a:pt x="1408" y="318"/>
                    <a:pt x="1321" y="280"/>
                  </a:cubicBezTo>
                  <a:cubicBezTo>
                    <a:pt x="1406" y="111"/>
                    <a:pt x="1406" y="111"/>
                    <a:pt x="1406" y="111"/>
                  </a:cubicBezTo>
                  <a:cubicBezTo>
                    <a:pt x="1349" y="82"/>
                    <a:pt x="1349" y="82"/>
                    <a:pt x="1349" y="82"/>
                  </a:cubicBezTo>
                  <a:cubicBezTo>
                    <a:pt x="1261" y="257"/>
                    <a:pt x="1261" y="257"/>
                    <a:pt x="1261" y="257"/>
                  </a:cubicBezTo>
                  <a:cubicBezTo>
                    <a:pt x="1156" y="220"/>
                    <a:pt x="1046" y="198"/>
                    <a:pt x="935" y="194"/>
                  </a:cubicBezTo>
                  <a:cubicBezTo>
                    <a:pt x="935" y="0"/>
                    <a:pt x="935" y="0"/>
                    <a:pt x="935" y="0"/>
                  </a:cubicBezTo>
                  <a:cubicBezTo>
                    <a:pt x="871" y="0"/>
                    <a:pt x="871" y="0"/>
                    <a:pt x="871" y="0"/>
                  </a:cubicBezTo>
                  <a:cubicBezTo>
                    <a:pt x="871" y="193"/>
                    <a:pt x="871" y="193"/>
                    <a:pt x="871" y="193"/>
                  </a:cubicBezTo>
                  <a:cubicBezTo>
                    <a:pt x="755" y="193"/>
                    <a:pt x="640" y="212"/>
                    <a:pt x="530" y="250"/>
                  </a:cubicBezTo>
                  <a:lnTo>
                    <a:pt x="446" y="82"/>
                  </a:lnTo>
                  <a:close/>
                  <a:moveTo>
                    <a:pt x="716" y="736"/>
                  </a:moveTo>
                  <a:cubicBezTo>
                    <a:pt x="679" y="780"/>
                    <a:pt x="648" y="829"/>
                    <a:pt x="626" y="881"/>
                  </a:cubicBezTo>
                  <a:cubicBezTo>
                    <a:pt x="585" y="877"/>
                    <a:pt x="545" y="871"/>
                    <a:pt x="506" y="864"/>
                  </a:cubicBezTo>
                  <a:cubicBezTo>
                    <a:pt x="566" y="807"/>
                    <a:pt x="638" y="763"/>
                    <a:pt x="716" y="736"/>
                  </a:cubicBezTo>
                  <a:moveTo>
                    <a:pt x="552" y="1312"/>
                  </a:moveTo>
                  <a:cubicBezTo>
                    <a:pt x="554" y="1416"/>
                    <a:pt x="571" y="1519"/>
                    <a:pt x="603" y="1618"/>
                  </a:cubicBezTo>
                  <a:cubicBezTo>
                    <a:pt x="551" y="1624"/>
                    <a:pt x="502" y="1632"/>
                    <a:pt x="455" y="1641"/>
                  </a:cubicBezTo>
                  <a:cubicBezTo>
                    <a:pt x="379" y="1548"/>
                    <a:pt x="335" y="1433"/>
                    <a:pt x="329" y="1312"/>
                  </a:cubicBezTo>
                  <a:lnTo>
                    <a:pt x="552" y="1312"/>
                  </a:lnTo>
                  <a:close/>
                  <a:moveTo>
                    <a:pt x="871" y="1852"/>
                  </a:moveTo>
                  <a:cubicBezTo>
                    <a:pt x="803" y="1836"/>
                    <a:pt x="741" y="1770"/>
                    <a:pt x="695" y="1673"/>
                  </a:cubicBezTo>
                  <a:cubicBezTo>
                    <a:pt x="752" y="1668"/>
                    <a:pt x="811" y="1666"/>
                    <a:pt x="871" y="1665"/>
                  </a:cubicBezTo>
                  <a:lnTo>
                    <a:pt x="871" y="1852"/>
                  </a:lnTo>
                  <a:close/>
                  <a:moveTo>
                    <a:pt x="935" y="1665"/>
                  </a:moveTo>
                  <a:cubicBezTo>
                    <a:pt x="995" y="1666"/>
                    <a:pt x="1054" y="1668"/>
                    <a:pt x="1111" y="1673"/>
                  </a:cubicBezTo>
                  <a:cubicBezTo>
                    <a:pt x="1065" y="1770"/>
                    <a:pt x="1003" y="1836"/>
                    <a:pt x="935" y="1852"/>
                  </a:cubicBezTo>
                  <a:lnTo>
                    <a:pt x="935" y="1665"/>
                  </a:lnTo>
                  <a:close/>
                  <a:moveTo>
                    <a:pt x="935" y="1601"/>
                  </a:moveTo>
                  <a:cubicBezTo>
                    <a:pt x="935" y="1312"/>
                    <a:pt x="935" y="1312"/>
                    <a:pt x="935" y="1312"/>
                  </a:cubicBezTo>
                  <a:cubicBezTo>
                    <a:pt x="1190" y="1312"/>
                    <a:pt x="1190" y="1312"/>
                    <a:pt x="1190" y="1312"/>
                  </a:cubicBezTo>
                  <a:cubicBezTo>
                    <a:pt x="1188" y="1414"/>
                    <a:pt x="1170" y="1515"/>
                    <a:pt x="1137" y="1611"/>
                  </a:cubicBezTo>
                  <a:cubicBezTo>
                    <a:pt x="1072" y="1605"/>
                    <a:pt x="1004" y="1602"/>
                    <a:pt x="935" y="1601"/>
                  </a:cubicBezTo>
                  <a:moveTo>
                    <a:pt x="935" y="1248"/>
                  </a:moveTo>
                  <a:cubicBezTo>
                    <a:pt x="935" y="960"/>
                    <a:pt x="935" y="960"/>
                    <a:pt x="935" y="960"/>
                  </a:cubicBezTo>
                  <a:cubicBezTo>
                    <a:pt x="1004" y="959"/>
                    <a:pt x="1072" y="956"/>
                    <a:pt x="1137" y="950"/>
                  </a:cubicBezTo>
                  <a:cubicBezTo>
                    <a:pt x="1170" y="1046"/>
                    <a:pt x="1188" y="1147"/>
                    <a:pt x="1190" y="1248"/>
                  </a:cubicBezTo>
                  <a:lnTo>
                    <a:pt x="935" y="1248"/>
                  </a:lnTo>
                  <a:close/>
                  <a:moveTo>
                    <a:pt x="935" y="896"/>
                  </a:moveTo>
                  <a:cubicBezTo>
                    <a:pt x="935" y="708"/>
                    <a:pt x="935" y="708"/>
                    <a:pt x="935" y="708"/>
                  </a:cubicBezTo>
                  <a:cubicBezTo>
                    <a:pt x="1003" y="724"/>
                    <a:pt x="1065" y="791"/>
                    <a:pt x="1111" y="888"/>
                  </a:cubicBezTo>
                  <a:cubicBezTo>
                    <a:pt x="1054" y="893"/>
                    <a:pt x="995" y="895"/>
                    <a:pt x="935" y="896"/>
                  </a:cubicBezTo>
                  <a:moveTo>
                    <a:pt x="871" y="708"/>
                  </a:moveTo>
                  <a:cubicBezTo>
                    <a:pt x="871" y="896"/>
                    <a:pt x="871" y="896"/>
                    <a:pt x="871" y="896"/>
                  </a:cubicBezTo>
                  <a:cubicBezTo>
                    <a:pt x="811" y="895"/>
                    <a:pt x="752" y="893"/>
                    <a:pt x="695" y="888"/>
                  </a:cubicBezTo>
                  <a:cubicBezTo>
                    <a:pt x="741" y="791"/>
                    <a:pt x="803" y="724"/>
                    <a:pt x="871" y="708"/>
                  </a:cubicBezTo>
                  <a:moveTo>
                    <a:pt x="871" y="960"/>
                  </a:moveTo>
                  <a:cubicBezTo>
                    <a:pt x="871" y="1248"/>
                    <a:pt x="871" y="1248"/>
                    <a:pt x="871" y="1248"/>
                  </a:cubicBezTo>
                  <a:cubicBezTo>
                    <a:pt x="616" y="1248"/>
                    <a:pt x="616" y="1248"/>
                    <a:pt x="616" y="1248"/>
                  </a:cubicBezTo>
                  <a:cubicBezTo>
                    <a:pt x="618" y="1147"/>
                    <a:pt x="636" y="1046"/>
                    <a:pt x="669" y="950"/>
                  </a:cubicBezTo>
                  <a:cubicBezTo>
                    <a:pt x="734" y="956"/>
                    <a:pt x="802" y="959"/>
                    <a:pt x="871" y="960"/>
                  </a:cubicBezTo>
                  <a:moveTo>
                    <a:pt x="871" y="1312"/>
                  </a:moveTo>
                  <a:cubicBezTo>
                    <a:pt x="871" y="1601"/>
                    <a:pt x="871" y="1601"/>
                    <a:pt x="871" y="1601"/>
                  </a:cubicBezTo>
                  <a:cubicBezTo>
                    <a:pt x="802" y="1602"/>
                    <a:pt x="734" y="1605"/>
                    <a:pt x="669" y="1611"/>
                  </a:cubicBezTo>
                  <a:cubicBezTo>
                    <a:pt x="636" y="1515"/>
                    <a:pt x="618" y="1414"/>
                    <a:pt x="616" y="1312"/>
                  </a:cubicBezTo>
                  <a:lnTo>
                    <a:pt x="871" y="1312"/>
                  </a:lnTo>
                  <a:close/>
                  <a:moveTo>
                    <a:pt x="626" y="1680"/>
                  </a:moveTo>
                  <a:cubicBezTo>
                    <a:pt x="648" y="1732"/>
                    <a:pt x="679" y="1781"/>
                    <a:pt x="716" y="1825"/>
                  </a:cubicBezTo>
                  <a:cubicBezTo>
                    <a:pt x="638" y="1798"/>
                    <a:pt x="566" y="1754"/>
                    <a:pt x="506" y="1697"/>
                  </a:cubicBezTo>
                  <a:cubicBezTo>
                    <a:pt x="545" y="1690"/>
                    <a:pt x="585" y="1684"/>
                    <a:pt x="626" y="1680"/>
                  </a:cubicBezTo>
                  <a:moveTo>
                    <a:pt x="1180" y="1680"/>
                  </a:moveTo>
                  <a:cubicBezTo>
                    <a:pt x="1221" y="1684"/>
                    <a:pt x="1261" y="1690"/>
                    <a:pt x="1300" y="1697"/>
                  </a:cubicBezTo>
                  <a:cubicBezTo>
                    <a:pt x="1240" y="1754"/>
                    <a:pt x="1168" y="1798"/>
                    <a:pt x="1090" y="1825"/>
                  </a:cubicBezTo>
                  <a:cubicBezTo>
                    <a:pt x="1127" y="1781"/>
                    <a:pt x="1158" y="1732"/>
                    <a:pt x="1180" y="1680"/>
                  </a:cubicBezTo>
                  <a:moveTo>
                    <a:pt x="1203" y="1618"/>
                  </a:moveTo>
                  <a:cubicBezTo>
                    <a:pt x="1235" y="1519"/>
                    <a:pt x="1252" y="1416"/>
                    <a:pt x="1254" y="1312"/>
                  </a:cubicBezTo>
                  <a:cubicBezTo>
                    <a:pt x="1477" y="1312"/>
                    <a:pt x="1477" y="1312"/>
                    <a:pt x="1477" y="1312"/>
                  </a:cubicBezTo>
                  <a:cubicBezTo>
                    <a:pt x="1471" y="1433"/>
                    <a:pt x="1427" y="1548"/>
                    <a:pt x="1351" y="1641"/>
                  </a:cubicBezTo>
                  <a:cubicBezTo>
                    <a:pt x="1304" y="1632"/>
                    <a:pt x="1255" y="1624"/>
                    <a:pt x="1203" y="1618"/>
                  </a:cubicBezTo>
                  <a:moveTo>
                    <a:pt x="1254" y="1248"/>
                  </a:moveTo>
                  <a:cubicBezTo>
                    <a:pt x="1252" y="1145"/>
                    <a:pt x="1235" y="1042"/>
                    <a:pt x="1203" y="943"/>
                  </a:cubicBezTo>
                  <a:cubicBezTo>
                    <a:pt x="1255" y="937"/>
                    <a:pt x="1304" y="929"/>
                    <a:pt x="1351" y="920"/>
                  </a:cubicBezTo>
                  <a:cubicBezTo>
                    <a:pt x="1427" y="1013"/>
                    <a:pt x="1471" y="1128"/>
                    <a:pt x="1477" y="1248"/>
                  </a:cubicBezTo>
                  <a:lnTo>
                    <a:pt x="1254" y="1248"/>
                  </a:lnTo>
                  <a:close/>
                  <a:moveTo>
                    <a:pt x="1300" y="864"/>
                  </a:moveTo>
                  <a:cubicBezTo>
                    <a:pt x="1261" y="871"/>
                    <a:pt x="1221" y="877"/>
                    <a:pt x="1180" y="881"/>
                  </a:cubicBezTo>
                  <a:cubicBezTo>
                    <a:pt x="1158" y="829"/>
                    <a:pt x="1127" y="780"/>
                    <a:pt x="1090" y="736"/>
                  </a:cubicBezTo>
                  <a:cubicBezTo>
                    <a:pt x="1168" y="763"/>
                    <a:pt x="1240" y="807"/>
                    <a:pt x="1300" y="864"/>
                  </a:cubicBezTo>
                  <a:moveTo>
                    <a:pt x="455" y="920"/>
                  </a:moveTo>
                  <a:cubicBezTo>
                    <a:pt x="502" y="929"/>
                    <a:pt x="551" y="937"/>
                    <a:pt x="603" y="943"/>
                  </a:cubicBezTo>
                  <a:cubicBezTo>
                    <a:pt x="571" y="1042"/>
                    <a:pt x="554" y="1145"/>
                    <a:pt x="552" y="1248"/>
                  </a:cubicBezTo>
                  <a:cubicBezTo>
                    <a:pt x="329" y="1248"/>
                    <a:pt x="329" y="1248"/>
                    <a:pt x="329" y="1248"/>
                  </a:cubicBezTo>
                  <a:cubicBezTo>
                    <a:pt x="335" y="1128"/>
                    <a:pt x="379" y="1013"/>
                    <a:pt x="455" y="920"/>
                  </a:cubicBezTo>
                  <a:moveTo>
                    <a:pt x="1723" y="704"/>
                  </a:moveTo>
                  <a:cubicBezTo>
                    <a:pt x="1668" y="792"/>
                    <a:pt x="1600" y="870"/>
                    <a:pt x="1522" y="938"/>
                  </a:cubicBezTo>
                  <a:cubicBezTo>
                    <a:pt x="1505" y="953"/>
                    <a:pt x="1487" y="967"/>
                    <a:pt x="1468" y="981"/>
                  </a:cubicBezTo>
                  <a:cubicBezTo>
                    <a:pt x="1436" y="921"/>
                    <a:pt x="1396" y="867"/>
                    <a:pt x="1347" y="821"/>
                  </a:cubicBezTo>
                  <a:cubicBezTo>
                    <a:pt x="1350" y="803"/>
                    <a:pt x="1351" y="786"/>
                    <a:pt x="1351" y="768"/>
                  </a:cubicBezTo>
                  <a:cubicBezTo>
                    <a:pt x="1351" y="521"/>
                    <a:pt x="1150" y="320"/>
                    <a:pt x="903" y="320"/>
                  </a:cubicBezTo>
                  <a:cubicBezTo>
                    <a:pt x="722" y="320"/>
                    <a:pt x="559" y="429"/>
                    <a:pt x="489" y="596"/>
                  </a:cubicBezTo>
                  <a:cubicBezTo>
                    <a:pt x="548" y="621"/>
                    <a:pt x="548" y="621"/>
                    <a:pt x="548" y="621"/>
                  </a:cubicBezTo>
                  <a:cubicBezTo>
                    <a:pt x="630" y="425"/>
                    <a:pt x="854" y="333"/>
                    <a:pt x="1050" y="414"/>
                  </a:cubicBezTo>
                  <a:cubicBezTo>
                    <a:pt x="1060" y="418"/>
                    <a:pt x="1071" y="423"/>
                    <a:pt x="1081" y="429"/>
                  </a:cubicBezTo>
                  <a:cubicBezTo>
                    <a:pt x="1035" y="454"/>
                    <a:pt x="1018" y="512"/>
                    <a:pt x="1043" y="558"/>
                  </a:cubicBezTo>
                  <a:cubicBezTo>
                    <a:pt x="1068" y="605"/>
                    <a:pt x="1126" y="622"/>
                    <a:pt x="1173" y="597"/>
                  </a:cubicBezTo>
                  <a:cubicBezTo>
                    <a:pt x="1193" y="586"/>
                    <a:pt x="1208" y="568"/>
                    <a:pt x="1216" y="547"/>
                  </a:cubicBezTo>
                  <a:cubicBezTo>
                    <a:pt x="1262" y="612"/>
                    <a:pt x="1287" y="689"/>
                    <a:pt x="1287" y="768"/>
                  </a:cubicBezTo>
                  <a:cubicBezTo>
                    <a:pt x="1287" y="770"/>
                    <a:pt x="1287" y="770"/>
                    <a:pt x="1287" y="770"/>
                  </a:cubicBezTo>
                  <a:cubicBezTo>
                    <a:pt x="1060" y="597"/>
                    <a:pt x="746" y="597"/>
                    <a:pt x="519" y="770"/>
                  </a:cubicBezTo>
                  <a:cubicBezTo>
                    <a:pt x="519" y="768"/>
                    <a:pt x="519" y="768"/>
                    <a:pt x="519" y="768"/>
                  </a:cubicBezTo>
                  <a:cubicBezTo>
                    <a:pt x="519" y="739"/>
                    <a:pt x="522" y="709"/>
                    <a:pt x="529" y="680"/>
                  </a:cubicBezTo>
                  <a:cubicBezTo>
                    <a:pt x="467" y="665"/>
                    <a:pt x="467" y="665"/>
                    <a:pt x="467" y="665"/>
                  </a:cubicBezTo>
                  <a:cubicBezTo>
                    <a:pt x="459" y="699"/>
                    <a:pt x="455" y="734"/>
                    <a:pt x="455" y="768"/>
                  </a:cubicBezTo>
                  <a:cubicBezTo>
                    <a:pt x="455" y="786"/>
                    <a:pt x="456" y="803"/>
                    <a:pt x="459" y="821"/>
                  </a:cubicBezTo>
                  <a:cubicBezTo>
                    <a:pt x="410" y="867"/>
                    <a:pt x="369" y="922"/>
                    <a:pt x="338" y="981"/>
                  </a:cubicBezTo>
                  <a:cubicBezTo>
                    <a:pt x="232" y="907"/>
                    <a:pt x="141" y="813"/>
                    <a:pt x="71" y="704"/>
                  </a:cubicBezTo>
                  <a:cubicBezTo>
                    <a:pt x="267" y="403"/>
                    <a:pt x="532" y="256"/>
                    <a:pt x="881" y="256"/>
                  </a:cubicBezTo>
                  <a:cubicBezTo>
                    <a:pt x="1236" y="256"/>
                    <a:pt x="1534" y="415"/>
                    <a:pt x="1723" y="704"/>
                  </a:cubicBezTo>
                  <a:moveTo>
                    <a:pt x="1159" y="512"/>
                  </a:moveTo>
                  <a:cubicBezTo>
                    <a:pt x="1159" y="530"/>
                    <a:pt x="1145" y="544"/>
                    <a:pt x="1127" y="544"/>
                  </a:cubicBezTo>
                  <a:cubicBezTo>
                    <a:pt x="1109" y="544"/>
                    <a:pt x="1095" y="530"/>
                    <a:pt x="1095" y="512"/>
                  </a:cubicBezTo>
                  <a:cubicBezTo>
                    <a:pt x="1095" y="495"/>
                    <a:pt x="1109" y="480"/>
                    <a:pt x="1127" y="480"/>
                  </a:cubicBezTo>
                  <a:cubicBezTo>
                    <a:pt x="1145" y="480"/>
                    <a:pt x="1159" y="495"/>
                    <a:pt x="1159" y="5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8" name="Rectangle 349">
              <a:extLst>
                <a:ext uri="{FF2B5EF4-FFF2-40B4-BE49-F238E27FC236}">
                  <a16:creationId xmlns:a16="http://schemas.microsoft.com/office/drawing/2014/main" id="{15F727A6-685C-0377-E9FA-C28A00BB5C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301" y="7143751"/>
              <a:ext cx="3968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9" name="Rectangle 350">
              <a:extLst>
                <a:ext uri="{FF2B5EF4-FFF2-40B4-BE49-F238E27FC236}">
                  <a16:creationId xmlns:a16="http://schemas.microsoft.com/office/drawing/2014/main" id="{44C15689-C4CD-244D-0D4E-B096EA9E53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301" y="7223126"/>
              <a:ext cx="39688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0" name="Rectangle 351">
              <a:extLst>
                <a:ext uri="{FF2B5EF4-FFF2-40B4-BE49-F238E27FC236}">
                  <a16:creationId xmlns:a16="http://schemas.microsoft.com/office/drawing/2014/main" id="{82F8821F-6406-3C1C-29CF-525C1AB72D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988" y="71834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1" name="Rectangle 352">
              <a:extLst>
                <a:ext uri="{FF2B5EF4-FFF2-40B4-BE49-F238E27FC236}">
                  <a16:creationId xmlns:a16="http://schemas.microsoft.com/office/drawing/2014/main" id="{9849E622-3EF4-5437-51C6-D61DACAAD2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6613" y="7183438"/>
              <a:ext cx="3968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2" name="Rectangle 353">
              <a:extLst>
                <a:ext uri="{FF2B5EF4-FFF2-40B4-BE49-F238E27FC236}">
                  <a16:creationId xmlns:a16="http://schemas.microsoft.com/office/drawing/2014/main" id="{86E936A9-DAE9-BAFC-77E3-2028D051F1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0401" y="7143751"/>
              <a:ext cx="3968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3" name="Rectangle 354">
              <a:extLst>
                <a:ext uri="{FF2B5EF4-FFF2-40B4-BE49-F238E27FC236}">
                  <a16:creationId xmlns:a16="http://schemas.microsoft.com/office/drawing/2014/main" id="{FEE99A75-9CCA-3EA8-4B46-7B49AFAB6E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0401" y="7223126"/>
              <a:ext cx="39688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4" name="Rectangle 355">
              <a:extLst>
                <a:ext uri="{FF2B5EF4-FFF2-40B4-BE49-F238E27FC236}">
                  <a16:creationId xmlns:a16="http://schemas.microsoft.com/office/drawing/2014/main" id="{509148A6-8601-C84F-F28F-83B4539901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0088" y="71834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5" name="Rectangle 356">
              <a:extLst>
                <a:ext uri="{FF2B5EF4-FFF2-40B4-BE49-F238E27FC236}">
                  <a16:creationId xmlns:a16="http://schemas.microsoft.com/office/drawing/2014/main" id="{867D31CA-0AE2-ABAE-3F98-B527C3C615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2301" y="7183438"/>
              <a:ext cx="381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4D1F1D5C-B8D4-8C1B-74E6-33F88623546B}"/>
              </a:ext>
            </a:extLst>
          </p:cNvPr>
          <p:cNvGrpSpPr/>
          <p:nvPr/>
        </p:nvGrpSpPr>
        <p:grpSpPr>
          <a:xfrm>
            <a:off x="7440515" y="3979211"/>
            <a:ext cx="463845" cy="417840"/>
            <a:chOff x="5070475" y="5924550"/>
            <a:chExt cx="576263" cy="519113"/>
          </a:xfrm>
          <a:solidFill>
            <a:schemeClr val="bg1"/>
          </a:solidFill>
        </p:grpSpPr>
        <p:sp>
          <p:nvSpPr>
            <p:cNvPr id="67" name="Freeform 6">
              <a:extLst>
                <a:ext uri="{FF2B5EF4-FFF2-40B4-BE49-F238E27FC236}">
                  <a16:creationId xmlns:a16="http://schemas.microsoft.com/office/drawing/2014/main" id="{1B0526A5-99D8-89BF-4438-7536E96F8F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70475" y="6030913"/>
              <a:ext cx="538163" cy="412750"/>
            </a:xfrm>
            <a:custGeom>
              <a:avLst/>
              <a:gdLst>
                <a:gd name="T0" fmla="*/ 250 w 3498"/>
                <a:gd name="T1" fmla="*/ 2686 h 2686"/>
                <a:gd name="T2" fmla="*/ 3248 w 3498"/>
                <a:gd name="T3" fmla="*/ 2686 h 2686"/>
                <a:gd name="T4" fmla="*/ 3498 w 3498"/>
                <a:gd name="T5" fmla="*/ 2436 h 2686"/>
                <a:gd name="T6" fmla="*/ 3498 w 3498"/>
                <a:gd name="T7" fmla="*/ 2248 h 2686"/>
                <a:gd name="T8" fmla="*/ 3436 w 3498"/>
                <a:gd name="T9" fmla="*/ 2186 h 2686"/>
                <a:gd name="T10" fmla="*/ 3311 w 3498"/>
                <a:gd name="T11" fmla="*/ 2186 h 2686"/>
                <a:gd name="T12" fmla="*/ 3311 w 3498"/>
                <a:gd name="T13" fmla="*/ 1249 h 2686"/>
                <a:gd name="T14" fmla="*/ 3186 w 3498"/>
                <a:gd name="T15" fmla="*/ 1249 h 2686"/>
                <a:gd name="T16" fmla="*/ 3186 w 3498"/>
                <a:gd name="T17" fmla="*/ 2186 h 2686"/>
                <a:gd name="T18" fmla="*/ 3061 w 3498"/>
                <a:gd name="T19" fmla="*/ 2186 h 2686"/>
                <a:gd name="T20" fmla="*/ 3061 w 3498"/>
                <a:gd name="T21" fmla="*/ 1311 h 2686"/>
                <a:gd name="T22" fmla="*/ 2936 w 3498"/>
                <a:gd name="T23" fmla="*/ 1311 h 2686"/>
                <a:gd name="T24" fmla="*/ 2936 w 3498"/>
                <a:gd name="T25" fmla="*/ 2186 h 2686"/>
                <a:gd name="T26" fmla="*/ 2131 w 3498"/>
                <a:gd name="T27" fmla="*/ 2186 h 2686"/>
                <a:gd name="T28" fmla="*/ 1974 w 3498"/>
                <a:gd name="T29" fmla="*/ 2283 h 2686"/>
                <a:gd name="T30" fmla="*/ 1929 w 3498"/>
                <a:gd name="T31" fmla="*/ 2311 h 2686"/>
                <a:gd name="T32" fmla="*/ 1569 w 3498"/>
                <a:gd name="T33" fmla="*/ 2311 h 2686"/>
                <a:gd name="T34" fmla="*/ 1524 w 3498"/>
                <a:gd name="T35" fmla="*/ 2283 h 2686"/>
                <a:gd name="T36" fmla="*/ 1367 w 3498"/>
                <a:gd name="T37" fmla="*/ 2186 h 2686"/>
                <a:gd name="T38" fmla="*/ 562 w 3498"/>
                <a:gd name="T39" fmla="*/ 2186 h 2686"/>
                <a:gd name="T40" fmla="*/ 562 w 3498"/>
                <a:gd name="T41" fmla="*/ 374 h 2686"/>
                <a:gd name="T42" fmla="*/ 1749 w 3498"/>
                <a:gd name="T43" fmla="*/ 374 h 2686"/>
                <a:gd name="T44" fmla="*/ 1749 w 3498"/>
                <a:gd name="T45" fmla="*/ 249 h 2686"/>
                <a:gd name="T46" fmla="*/ 500 w 3498"/>
                <a:gd name="T47" fmla="*/ 249 h 2686"/>
                <a:gd name="T48" fmla="*/ 437 w 3498"/>
                <a:gd name="T49" fmla="*/ 312 h 2686"/>
                <a:gd name="T50" fmla="*/ 437 w 3498"/>
                <a:gd name="T51" fmla="*/ 2186 h 2686"/>
                <a:gd name="T52" fmla="*/ 312 w 3498"/>
                <a:gd name="T53" fmla="*/ 2186 h 2686"/>
                <a:gd name="T54" fmla="*/ 312 w 3498"/>
                <a:gd name="T55" fmla="*/ 312 h 2686"/>
                <a:gd name="T56" fmla="*/ 500 w 3498"/>
                <a:gd name="T57" fmla="*/ 125 h 2686"/>
                <a:gd name="T58" fmla="*/ 1749 w 3498"/>
                <a:gd name="T59" fmla="*/ 125 h 2686"/>
                <a:gd name="T60" fmla="*/ 1749 w 3498"/>
                <a:gd name="T61" fmla="*/ 0 h 2686"/>
                <a:gd name="T62" fmla="*/ 500 w 3498"/>
                <a:gd name="T63" fmla="*/ 0 h 2686"/>
                <a:gd name="T64" fmla="*/ 187 w 3498"/>
                <a:gd name="T65" fmla="*/ 312 h 2686"/>
                <a:gd name="T66" fmla="*/ 187 w 3498"/>
                <a:gd name="T67" fmla="*/ 2186 h 2686"/>
                <a:gd name="T68" fmla="*/ 62 w 3498"/>
                <a:gd name="T69" fmla="*/ 2186 h 2686"/>
                <a:gd name="T70" fmla="*/ 0 w 3498"/>
                <a:gd name="T71" fmla="*/ 2248 h 2686"/>
                <a:gd name="T72" fmla="*/ 0 w 3498"/>
                <a:gd name="T73" fmla="*/ 2436 h 2686"/>
                <a:gd name="T74" fmla="*/ 250 w 3498"/>
                <a:gd name="T75" fmla="*/ 2686 h 2686"/>
                <a:gd name="T76" fmla="*/ 125 w 3498"/>
                <a:gd name="T77" fmla="*/ 2311 h 2686"/>
                <a:gd name="T78" fmla="*/ 1367 w 3498"/>
                <a:gd name="T79" fmla="*/ 2311 h 2686"/>
                <a:gd name="T80" fmla="*/ 1412 w 3498"/>
                <a:gd name="T81" fmla="*/ 2339 h 2686"/>
                <a:gd name="T82" fmla="*/ 1569 w 3498"/>
                <a:gd name="T83" fmla="*/ 2436 h 2686"/>
                <a:gd name="T84" fmla="*/ 1929 w 3498"/>
                <a:gd name="T85" fmla="*/ 2436 h 2686"/>
                <a:gd name="T86" fmla="*/ 2086 w 3498"/>
                <a:gd name="T87" fmla="*/ 2339 h 2686"/>
                <a:gd name="T88" fmla="*/ 2131 w 3498"/>
                <a:gd name="T89" fmla="*/ 2311 h 2686"/>
                <a:gd name="T90" fmla="*/ 3373 w 3498"/>
                <a:gd name="T91" fmla="*/ 2311 h 2686"/>
                <a:gd name="T92" fmla="*/ 3373 w 3498"/>
                <a:gd name="T93" fmla="*/ 2436 h 2686"/>
                <a:gd name="T94" fmla="*/ 3248 w 3498"/>
                <a:gd name="T95" fmla="*/ 2561 h 2686"/>
                <a:gd name="T96" fmla="*/ 250 w 3498"/>
                <a:gd name="T97" fmla="*/ 2561 h 2686"/>
                <a:gd name="T98" fmla="*/ 125 w 3498"/>
                <a:gd name="T99" fmla="*/ 2436 h 2686"/>
                <a:gd name="T100" fmla="*/ 125 w 3498"/>
                <a:gd name="T101" fmla="*/ 2311 h 2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498" h="2686">
                  <a:moveTo>
                    <a:pt x="250" y="2686"/>
                  </a:moveTo>
                  <a:cubicBezTo>
                    <a:pt x="3248" y="2686"/>
                    <a:pt x="3248" y="2686"/>
                    <a:pt x="3248" y="2686"/>
                  </a:cubicBezTo>
                  <a:cubicBezTo>
                    <a:pt x="3386" y="2686"/>
                    <a:pt x="3498" y="2574"/>
                    <a:pt x="3498" y="2436"/>
                  </a:cubicBezTo>
                  <a:cubicBezTo>
                    <a:pt x="3498" y="2248"/>
                    <a:pt x="3498" y="2248"/>
                    <a:pt x="3498" y="2248"/>
                  </a:cubicBezTo>
                  <a:cubicBezTo>
                    <a:pt x="3498" y="2214"/>
                    <a:pt x="3470" y="2186"/>
                    <a:pt x="3436" y="2186"/>
                  </a:cubicBezTo>
                  <a:cubicBezTo>
                    <a:pt x="3311" y="2186"/>
                    <a:pt x="3311" y="2186"/>
                    <a:pt x="3311" y="2186"/>
                  </a:cubicBezTo>
                  <a:cubicBezTo>
                    <a:pt x="3311" y="1249"/>
                    <a:pt x="3311" y="1249"/>
                    <a:pt x="3311" y="1249"/>
                  </a:cubicBezTo>
                  <a:cubicBezTo>
                    <a:pt x="3186" y="1249"/>
                    <a:pt x="3186" y="1249"/>
                    <a:pt x="3186" y="1249"/>
                  </a:cubicBezTo>
                  <a:cubicBezTo>
                    <a:pt x="3186" y="2186"/>
                    <a:pt x="3186" y="2186"/>
                    <a:pt x="3186" y="2186"/>
                  </a:cubicBezTo>
                  <a:cubicBezTo>
                    <a:pt x="3061" y="2186"/>
                    <a:pt x="3061" y="2186"/>
                    <a:pt x="3061" y="2186"/>
                  </a:cubicBezTo>
                  <a:cubicBezTo>
                    <a:pt x="3061" y="1311"/>
                    <a:pt x="3061" y="1311"/>
                    <a:pt x="3061" y="1311"/>
                  </a:cubicBezTo>
                  <a:cubicBezTo>
                    <a:pt x="2936" y="1311"/>
                    <a:pt x="2936" y="1311"/>
                    <a:pt x="2936" y="1311"/>
                  </a:cubicBezTo>
                  <a:cubicBezTo>
                    <a:pt x="2936" y="2186"/>
                    <a:pt x="2936" y="2186"/>
                    <a:pt x="2936" y="2186"/>
                  </a:cubicBezTo>
                  <a:cubicBezTo>
                    <a:pt x="2131" y="2186"/>
                    <a:pt x="2131" y="2186"/>
                    <a:pt x="2131" y="2186"/>
                  </a:cubicBezTo>
                  <a:cubicBezTo>
                    <a:pt x="2065" y="2186"/>
                    <a:pt x="2004" y="2223"/>
                    <a:pt x="1974" y="2283"/>
                  </a:cubicBezTo>
                  <a:cubicBezTo>
                    <a:pt x="1966" y="2300"/>
                    <a:pt x="1948" y="2311"/>
                    <a:pt x="1929" y="2311"/>
                  </a:cubicBezTo>
                  <a:cubicBezTo>
                    <a:pt x="1569" y="2311"/>
                    <a:pt x="1569" y="2311"/>
                    <a:pt x="1569" y="2311"/>
                  </a:cubicBezTo>
                  <a:cubicBezTo>
                    <a:pt x="1550" y="2311"/>
                    <a:pt x="1532" y="2300"/>
                    <a:pt x="1524" y="2283"/>
                  </a:cubicBezTo>
                  <a:cubicBezTo>
                    <a:pt x="1494" y="2223"/>
                    <a:pt x="1433" y="2186"/>
                    <a:pt x="1367" y="2186"/>
                  </a:cubicBezTo>
                  <a:cubicBezTo>
                    <a:pt x="562" y="2186"/>
                    <a:pt x="562" y="2186"/>
                    <a:pt x="562" y="2186"/>
                  </a:cubicBezTo>
                  <a:cubicBezTo>
                    <a:pt x="562" y="374"/>
                    <a:pt x="562" y="374"/>
                    <a:pt x="562" y="374"/>
                  </a:cubicBezTo>
                  <a:cubicBezTo>
                    <a:pt x="1749" y="374"/>
                    <a:pt x="1749" y="374"/>
                    <a:pt x="1749" y="374"/>
                  </a:cubicBezTo>
                  <a:cubicBezTo>
                    <a:pt x="1749" y="249"/>
                    <a:pt x="1749" y="249"/>
                    <a:pt x="1749" y="249"/>
                  </a:cubicBezTo>
                  <a:cubicBezTo>
                    <a:pt x="500" y="249"/>
                    <a:pt x="500" y="249"/>
                    <a:pt x="500" y="249"/>
                  </a:cubicBezTo>
                  <a:cubicBezTo>
                    <a:pt x="465" y="249"/>
                    <a:pt x="437" y="277"/>
                    <a:pt x="437" y="312"/>
                  </a:cubicBezTo>
                  <a:cubicBezTo>
                    <a:pt x="437" y="2186"/>
                    <a:pt x="437" y="2186"/>
                    <a:pt x="437" y="2186"/>
                  </a:cubicBezTo>
                  <a:cubicBezTo>
                    <a:pt x="312" y="2186"/>
                    <a:pt x="312" y="2186"/>
                    <a:pt x="312" y="2186"/>
                  </a:cubicBezTo>
                  <a:cubicBezTo>
                    <a:pt x="312" y="312"/>
                    <a:pt x="312" y="312"/>
                    <a:pt x="312" y="312"/>
                  </a:cubicBezTo>
                  <a:cubicBezTo>
                    <a:pt x="312" y="208"/>
                    <a:pt x="396" y="125"/>
                    <a:pt x="500" y="125"/>
                  </a:cubicBezTo>
                  <a:cubicBezTo>
                    <a:pt x="1749" y="125"/>
                    <a:pt x="1749" y="125"/>
                    <a:pt x="1749" y="125"/>
                  </a:cubicBezTo>
                  <a:cubicBezTo>
                    <a:pt x="1749" y="0"/>
                    <a:pt x="1749" y="0"/>
                    <a:pt x="1749" y="0"/>
                  </a:cubicBezTo>
                  <a:cubicBezTo>
                    <a:pt x="500" y="0"/>
                    <a:pt x="500" y="0"/>
                    <a:pt x="500" y="0"/>
                  </a:cubicBezTo>
                  <a:cubicBezTo>
                    <a:pt x="327" y="0"/>
                    <a:pt x="188" y="140"/>
                    <a:pt x="187" y="312"/>
                  </a:cubicBezTo>
                  <a:cubicBezTo>
                    <a:pt x="187" y="2186"/>
                    <a:pt x="187" y="2186"/>
                    <a:pt x="187" y="2186"/>
                  </a:cubicBezTo>
                  <a:cubicBezTo>
                    <a:pt x="62" y="2186"/>
                    <a:pt x="62" y="2186"/>
                    <a:pt x="62" y="2186"/>
                  </a:cubicBezTo>
                  <a:cubicBezTo>
                    <a:pt x="28" y="2186"/>
                    <a:pt x="0" y="2214"/>
                    <a:pt x="0" y="2248"/>
                  </a:cubicBezTo>
                  <a:cubicBezTo>
                    <a:pt x="0" y="2436"/>
                    <a:pt x="0" y="2436"/>
                    <a:pt x="0" y="2436"/>
                  </a:cubicBezTo>
                  <a:cubicBezTo>
                    <a:pt x="0" y="2574"/>
                    <a:pt x="112" y="2686"/>
                    <a:pt x="250" y="2686"/>
                  </a:cubicBezTo>
                  <a:moveTo>
                    <a:pt x="125" y="2311"/>
                  </a:moveTo>
                  <a:cubicBezTo>
                    <a:pt x="1367" y="2311"/>
                    <a:pt x="1367" y="2311"/>
                    <a:pt x="1367" y="2311"/>
                  </a:cubicBezTo>
                  <a:cubicBezTo>
                    <a:pt x="1386" y="2311"/>
                    <a:pt x="1404" y="2322"/>
                    <a:pt x="1412" y="2339"/>
                  </a:cubicBezTo>
                  <a:cubicBezTo>
                    <a:pt x="1442" y="2398"/>
                    <a:pt x="1503" y="2436"/>
                    <a:pt x="1569" y="2436"/>
                  </a:cubicBezTo>
                  <a:cubicBezTo>
                    <a:pt x="1929" y="2436"/>
                    <a:pt x="1929" y="2436"/>
                    <a:pt x="1929" y="2436"/>
                  </a:cubicBezTo>
                  <a:cubicBezTo>
                    <a:pt x="1996" y="2436"/>
                    <a:pt x="2056" y="2398"/>
                    <a:pt x="2086" y="2339"/>
                  </a:cubicBezTo>
                  <a:cubicBezTo>
                    <a:pt x="2095" y="2322"/>
                    <a:pt x="2112" y="2311"/>
                    <a:pt x="2131" y="2311"/>
                  </a:cubicBezTo>
                  <a:cubicBezTo>
                    <a:pt x="3373" y="2311"/>
                    <a:pt x="3373" y="2311"/>
                    <a:pt x="3373" y="2311"/>
                  </a:cubicBezTo>
                  <a:cubicBezTo>
                    <a:pt x="3373" y="2436"/>
                    <a:pt x="3373" y="2436"/>
                    <a:pt x="3373" y="2436"/>
                  </a:cubicBezTo>
                  <a:cubicBezTo>
                    <a:pt x="3373" y="2505"/>
                    <a:pt x="3317" y="2561"/>
                    <a:pt x="3248" y="2561"/>
                  </a:cubicBezTo>
                  <a:cubicBezTo>
                    <a:pt x="250" y="2561"/>
                    <a:pt x="250" y="2561"/>
                    <a:pt x="250" y="2561"/>
                  </a:cubicBezTo>
                  <a:cubicBezTo>
                    <a:pt x="181" y="2561"/>
                    <a:pt x="125" y="2505"/>
                    <a:pt x="125" y="2436"/>
                  </a:cubicBezTo>
                  <a:lnTo>
                    <a:pt x="125" y="23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8" name="Rectangle 7">
              <a:extLst>
                <a:ext uri="{FF2B5EF4-FFF2-40B4-BE49-F238E27FC236}">
                  <a16:creationId xmlns:a16="http://schemas.microsoft.com/office/drawing/2014/main" id="{66294D7F-D199-824F-B335-B4A75B463F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6838" y="6107113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9" name="Rectangle 8">
              <a:extLst>
                <a:ext uri="{FF2B5EF4-FFF2-40B4-BE49-F238E27FC236}">
                  <a16:creationId xmlns:a16="http://schemas.microsoft.com/office/drawing/2014/main" id="{AC4E5451-11D7-DCAA-FBEA-8F2E2C6F6E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4938" y="6107113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0" name="Rectangle 9">
              <a:extLst>
                <a:ext uri="{FF2B5EF4-FFF2-40B4-BE49-F238E27FC236}">
                  <a16:creationId xmlns:a16="http://schemas.microsoft.com/office/drawing/2014/main" id="{FE520B7A-3593-EA1E-BC08-167AB68B81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53038" y="6107113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1" name="Freeform 10">
              <a:extLst>
                <a:ext uri="{FF2B5EF4-FFF2-40B4-BE49-F238E27FC236}">
                  <a16:creationId xmlns:a16="http://schemas.microsoft.com/office/drawing/2014/main" id="{FDB0AA71-048F-F8BC-7B38-8D3727D8F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6838" y="6145213"/>
              <a:ext cx="239713" cy="77788"/>
            </a:xfrm>
            <a:custGeom>
              <a:avLst/>
              <a:gdLst>
                <a:gd name="T0" fmla="*/ 1187 w 1562"/>
                <a:gd name="T1" fmla="*/ 125 h 500"/>
                <a:gd name="T2" fmla="*/ 1187 w 1562"/>
                <a:gd name="T3" fmla="*/ 0 h 500"/>
                <a:gd name="T4" fmla="*/ 63 w 1562"/>
                <a:gd name="T5" fmla="*/ 0 h 500"/>
                <a:gd name="T6" fmla="*/ 0 w 1562"/>
                <a:gd name="T7" fmla="*/ 63 h 500"/>
                <a:gd name="T8" fmla="*/ 0 w 1562"/>
                <a:gd name="T9" fmla="*/ 437 h 500"/>
                <a:gd name="T10" fmla="*/ 63 w 1562"/>
                <a:gd name="T11" fmla="*/ 500 h 500"/>
                <a:gd name="T12" fmla="*/ 1562 w 1562"/>
                <a:gd name="T13" fmla="*/ 500 h 500"/>
                <a:gd name="T14" fmla="*/ 1562 w 1562"/>
                <a:gd name="T15" fmla="*/ 375 h 500"/>
                <a:gd name="T16" fmla="*/ 125 w 1562"/>
                <a:gd name="T17" fmla="*/ 375 h 500"/>
                <a:gd name="T18" fmla="*/ 125 w 1562"/>
                <a:gd name="T19" fmla="*/ 125 h 500"/>
                <a:gd name="T20" fmla="*/ 1187 w 1562"/>
                <a:gd name="T21" fmla="*/ 125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2" h="500">
                  <a:moveTo>
                    <a:pt x="1187" y="125"/>
                  </a:moveTo>
                  <a:cubicBezTo>
                    <a:pt x="1187" y="0"/>
                    <a:pt x="1187" y="0"/>
                    <a:pt x="118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3"/>
                  </a:cubicBezTo>
                  <a:cubicBezTo>
                    <a:pt x="0" y="437"/>
                    <a:pt x="0" y="437"/>
                    <a:pt x="0" y="437"/>
                  </a:cubicBezTo>
                  <a:cubicBezTo>
                    <a:pt x="0" y="472"/>
                    <a:pt x="28" y="500"/>
                    <a:pt x="63" y="500"/>
                  </a:cubicBezTo>
                  <a:cubicBezTo>
                    <a:pt x="1562" y="500"/>
                    <a:pt x="1562" y="500"/>
                    <a:pt x="1562" y="500"/>
                  </a:cubicBezTo>
                  <a:cubicBezTo>
                    <a:pt x="1562" y="375"/>
                    <a:pt x="1562" y="375"/>
                    <a:pt x="1562" y="375"/>
                  </a:cubicBezTo>
                  <a:cubicBezTo>
                    <a:pt x="125" y="375"/>
                    <a:pt x="125" y="375"/>
                    <a:pt x="125" y="375"/>
                  </a:cubicBezTo>
                  <a:cubicBezTo>
                    <a:pt x="125" y="125"/>
                    <a:pt x="125" y="125"/>
                    <a:pt x="125" y="125"/>
                  </a:cubicBezTo>
                  <a:lnTo>
                    <a:pt x="1187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2" name="Rectangle 11">
              <a:extLst>
                <a:ext uri="{FF2B5EF4-FFF2-40B4-BE49-F238E27FC236}">
                  <a16:creationId xmlns:a16="http://schemas.microsoft.com/office/drawing/2014/main" id="{7616C574-8E7A-7A74-BE32-0BF5DE7BE4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6838" y="6327775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3" name="Rectangle 12">
              <a:extLst>
                <a:ext uri="{FF2B5EF4-FFF2-40B4-BE49-F238E27FC236}">
                  <a16:creationId xmlns:a16="http://schemas.microsoft.com/office/drawing/2014/main" id="{C1F5600B-D813-C535-EB02-EBA0D10626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2563" y="6327775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4" name="Rectangle 13">
              <a:extLst>
                <a:ext uri="{FF2B5EF4-FFF2-40B4-BE49-F238E27FC236}">
                  <a16:creationId xmlns:a16="http://schemas.microsoft.com/office/drawing/2014/main" id="{53551253-3529-F164-AA07-99B1963CD6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9875" y="6327775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5" name="Rectangle 14">
              <a:extLst>
                <a:ext uri="{FF2B5EF4-FFF2-40B4-BE49-F238E27FC236}">
                  <a16:creationId xmlns:a16="http://schemas.microsoft.com/office/drawing/2014/main" id="{B363772D-5279-52D7-7818-93BBAE25CB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35600" y="6327775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6" name="Freeform 15">
              <a:extLst>
                <a:ext uri="{FF2B5EF4-FFF2-40B4-BE49-F238E27FC236}">
                  <a16:creationId xmlns:a16="http://schemas.microsoft.com/office/drawing/2014/main" id="{739856F0-DB5A-F88C-689B-BC22427C65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62563" y="6242050"/>
              <a:ext cx="66675" cy="66675"/>
            </a:xfrm>
            <a:custGeom>
              <a:avLst/>
              <a:gdLst>
                <a:gd name="T0" fmla="*/ 438 w 438"/>
                <a:gd name="T1" fmla="*/ 62 h 437"/>
                <a:gd name="T2" fmla="*/ 375 w 438"/>
                <a:gd name="T3" fmla="*/ 0 h 437"/>
                <a:gd name="T4" fmla="*/ 63 w 438"/>
                <a:gd name="T5" fmla="*/ 0 h 437"/>
                <a:gd name="T6" fmla="*/ 0 w 438"/>
                <a:gd name="T7" fmla="*/ 62 h 437"/>
                <a:gd name="T8" fmla="*/ 0 w 438"/>
                <a:gd name="T9" fmla="*/ 375 h 437"/>
                <a:gd name="T10" fmla="*/ 63 w 438"/>
                <a:gd name="T11" fmla="*/ 437 h 437"/>
                <a:gd name="T12" fmla="*/ 375 w 438"/>
                <a:gd name="T13" fmla="*/ 437 h 437"/>
                <a:gd name="T14" fmla="*/ 438 w 438"/>
                <a:gd name="T15" fmla="*/ 375 h 437"/>
                <a:gd name="T16" fmla="*/ 438 w 438"/>
                <a:gd name="T17" fmla="*/ 62 h 437"/>
                <a:gd name="T18" fmla="*/ 313 w 438"/>
                <a:gd name="T19" fmla="*/ 312 h 437"/>
                <a:gd name="T20" fmla="*/ 125 w 438"/>
                <a:gd name="T21" fmla="*/ 312 h 437"/>
                <a:gd name="T22" fmla="*/ 125 w 438"/>
                <a:gd name="T23" fmla="*/ 125 h 437"/>
                <a:gd name="T24" fmla="*/ 313 w 438"/>
                <a:gd name="T25" fmla="*/ 125 h 437"/>
                <a:gd name="T26" fmla="*/ 313 w 438"/>
                <a:gd name="T27" fmla="*/ 312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8" h="437">
                  <a:moveTo>
                    <a:pt x="438" y="62"/>
                  </a:moveTo>
                  <a:cubicBezTo>
                    <a:pt x="438" y="28"/>
                    <a:pt x="410" y="0"/>
                    <a:pt x="37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9"/>
                    <a:pt x="28" y="437"/>
                    <a:pt x="63" y="437"/>
                  </a:cubicBezTo>
                  <a:cubicBezTo>
                    <a:pt x="375" y="437"/>
                    <a:pt x="375" y="437"/>
                    <a:pt x="375" y="437"/>
                  </a:cubicBezTo>
                  <a:cubicBezTo>
                    <a:pt x="410" y="437"/>
                    <a:pt x="438" y="409"/>
                    <a:pt x="438" y="375"/>
                  </a:cubicBezTo>
                  <a:lnTo>
                    <a:pt x="438" y="62"/>
                  </a:lnTo>
                  <a:close/>
                  <a:moveTo>
                    <a:pt x="313" y="312"/>
                  </a:moveTo>
                  <a:cubicBezTo>
                    <a:pt x="125" y="312"/>
                    <a:pt x="125" y="312"/>
                    <a:pt x="125" y="312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313" y="125"/>
                    <a:pt x="313" y="125"/>
                    <a:pt x="313" y="125"/>
                  </a:cubicBezTo>
                  <a:lnTo>
                    <a:pt x="313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7" name="Freeform 16">
              <a:extLst>
                <a:ext uri="{FF2B5EF4-FFF2-40B4-BE49-F238E27FC236}">
                  <a16:creationId xmlns:a16="http://schemas.microsoft.com/office/drawing/2014/main" id="{03B60B80-1504-6E98-1942-F436E62BCC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6838" y="6242050"/>
              <a:ext cx="66675" cy="66675"/>
            </a:xfrm>
            <a:custGeom>
              <a:avLst/>
              <a:gdLst>
                <a:gd name="T0" fmla="*/ 437 w 437"/>
                <a:gd name="T1" fmla="*/ 62 h 437"/>
                <a:gd name="T2" fmla="*/ 375 w 437"/>
                <a:gd name="T3" fmla="*/ 0 h 437"/>
                <a:gd name="T4" fmla="*/ 63 w 437"/>
                <a:gd name="T5" fmla="*/ 0 h 437"/>
                <a:gd name="T6" fmla="*/ 0 w 437"/>
                <a:gd name="T7" fmla="*/ 62 h 437"/>
                <a:gd name="T8" fmla="*/ 0 w 437"/>
                <a:gd name="T9" fmla="*/ 375 h 437"/>
                <a:gd name="T10" fmla="*/ 63 w 437"/>
                <a:gd name="T11" fmla="*/ 437 h 437"/>
                <a:gd name="T12" fmla="*/ 375 w 437"/>
                <a:gd name="T13" fmla="*/ 437 h 437"/>
                <a:gd name="T14" fmla="*/ 437 w 437"/>
                <a:gd name="T15" fmla="*/ 375 h 437"/>
                <a:gd name="T16" fmla="*/ 437 w 437"/>
                <a:gd name="T17" fmla="*/ 62 h 437"/>
                <a:gd name="T18" fmla="*/ 312 w 437"/>
                <a:gd name="T19" fmla="*/ 312 h 437"/>
                <a:gd name="T20" fmla="*/ 125 w 437"/>
                <a:gd name="T21" fmla="*/ 312 h 437"/>
                <a:gd name="T22" fmla="*/ 125 w 437"/>
                <a:gd name="T23" fmla="*/ 125 h 437"/>
                <a:gd name="T24" fmla="*/ 312 w 437"/>
                <a:gd name="T25" fmla="*/ 125 h 437"/>
                <a:gd name="T26" fmla="*/ 312 w 437"/>
                <a:gd name="T27" fmla="*/ 312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7" h="437">
                  <a:moveTo>
                    <a:pt x="437" y="62"/>
                  </a:moveTo>
                  <a:cubicBezTo>
                    <a:pt x="437" y="28"/>
                    <a:pt x="409" y="0"/>
                    <a:pt x="37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9"/>
                    <a:pt x="28" y="437"/>
                    <a:pt x="63" y="437"/>
                  </a:cubicBezTo>
                  <a:cubicBezTo>
                    <a:pt x="375" y="437"/>
                    <a:pt x="375" y="437"/>
                    <a:pt x="375" y="437"/>
                  </a:cubicBezTo>
                  <a:cubicBezTo>
                    <a:pt x="409" y="437"/>
                    <a:pt x="437" y="409"/>
                    <a:pt x="437" y="375"/>
                  </a:cubicBezTo>
                  <a:lnTo>
                    <a:pt x="437" y="62"/>
                  </a:lnTo>
                  <a:close/>
                  <a:moveTo>
                    <a:pt x="312" y="312"/>
                  </a:moveTo>
                  <a:cubicBezTo>
                    <a:pt x="125" y="312"/>
                    <a:pt x="125" y="312"/>
                    <a:pt x="125" y="312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312" y="125"/>
                    <a:pt x="312" y="125"/>
                    <a:pt x="312" y="125"/>
                  </a:cubicBezTo>
                  <a:lnTo>
                    <a:pt x="312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8" name="Freeform 17">
              <a:extLst>
                <a:ext uri="{FF2B5EF4-FFF2-40B4-BE49-F238E27FC236}">
                  <a16:creationId xmlns:a16="http://schemas.microsoft.com/office/drawing/2014/main" id="{989C5CD0-B4ED-FFF3-0260-22890AEF4B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35600" y="6242050"/>
              <a:ext cx="66675" cy="66675"/>
            </a:xfrm>
            <a:custGeom>
              <a:avLst/>
              <a:gdLst>
                <a:gd name="T0" fmla="*/ 375 w 437"/>
                <a:gd name="T1" fmla="*/ 437 h 437"/>
                <a:gd name="T2" fmla="*/ 437 w 437"/>
                <a:gd name="T3" fmla="*/ 375 h 437"/>
                <a:gd name="T4" fmla="*/ 437 w 437"/>
                <a:gd name="T5" fmla="*/ 62 h 437"/>
                <a:gd name="T6" fmla="*/ 375 w 437"/>
                <a:gd name="T7" fmla="*/ 0 h 437"/>
                <a:gd name="T8" fmla="*/ 62 w 437"/>
                <a:gd name="T9" fmla="*/ 0 h 437"/>
                <a:gd name="T10" fmla="*/ 0 w 437"/>
                <a:gd name="T11" fmla="*/ 62 h 437"/>
                <a:gd name="T12" fmla="*/ 0 w 437"/>
                <a:gd name="T13" fmla="*/ 375 h 437"/>
                <a:gd name="T14" fmla="*/ 62 w 437"/>
                <a:gd name="T15" fmla="*/ 437 h 437"/>
                <a:gd name="T16" fmla="*/ 375 w 437"/>
                <a:gd name="T17" fmla="*/ 437 h 437"/>
                <a:gd name="T18" fmla="*/ 125 w 437"/>
                <a:gd name="T19" fmla="*/ 125 h 437"/>
                <a:gd name="T20" fmla="*/ 312 w 437"/>
                <a:gd name="T21" fmla="*/ 125 h 437"/>
                <a:gd name="T22" fmla="*/ 312 w 437"/>
                <a:gd name="T23" fmla="*/ 312 h 437"/>
                <a:gd name="T24" fmla="*/ 125 w 437"/>
                <a:gd name="T25" fmla="*/ 312 h 437"/>
                <a:gd name="T26" fmla="*/ 125 w 437"/>
                <a:gd name="T27" fmla="*/ 125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7" h="437">
                  <a:moveTo>
                    <a:pt x="375" y="437"/>
                  </a:moveTo>
                  <a:cubicBezTo>
                    <a:pt x="409" y="437"/>
                    <a:pt x="437" y="409"/>
                    <a:pt x="437" y="375"/>
                  </a:cubicBezTo>
                  <a:cubicBezTo>
                    <a:pt x="437" y="62"/>
                    <a:pt x="437" y="62"/>
                    <a:pt x="437" y="62"/>
                  </a:cubicBezTo>
                  <a:cubicBezTo>
                    <a:pt x="437" y="28"/>
                    <a:pt x="409" y="0"/>
                    <a:pt x="375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28" y="0"/>
                    <a:pt x="0" y="28"/>
                    <a:pt x="0" y="62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9"/>
                    <a:pt x="28" y="437"/>
                    <a:pt x="62" y="437"/>
                  </a:cubicBezTo>
                  <a:lnTo>
                    <a:pt x="375" y="437"/>
                  </a:lnTo>
                  <a:close/>
                  <a:moveTo>
                    <a:pt x="125" y="125"/>
                  </a:moveTo>
                  <a:cubicBezTo>
                    <a:pt x="312" y="125"/>
                    <a:pt x="312" y="125"/>
                    <a:pt x="312" y="125"/>
                  </a:cubicBezTo>
                  <a:cubicBezTo>
                    <a:pt x="312" y="312"/>
                    <a:pt x="312" y="312"/>
                    <a:pt x="312" y="312"/>
                  </a:cubicBezTo>
                  <a:cubicBezTo>
                    <a:pt x="125" y="312"/>
                    <a:pt x="125" y="312"/>
                    <a:pt x="125" y="312"/>
                  </a:cubicBezTo>
                  <a:lnTo>
                    <a:pt x="125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9" name="Freeform 18">
              <a:extLst>
                <a:ext uri="{FF2B5EF4-FFF2-40B4-BE49-F238E27FC236}">
                  <a16:creationId xmlns:a16="http://schemas.microsoft.com/office/drawing/2014/main" id="{E4B9B035-2894-1264-610E-244D47C6D7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49875" y="6242050"/>
              <a:ext cx="66675" cy="66675"/>
            </a:xfrm>
            <a:custGeom>
              <a:avLst/>
              <a:gdLst>
                <a:gd name="T0" fmla="*/ 437 w 437"/>
                <a:gd name="T1" fmla="*/ 62 h 437"/>
                <a:gd name="T2" fmla="*/ 374 w 437"/>
                <a:gd name="T3" fmla="*/ 0 h 437"/>
                <a:gd name="T4" fmla="*/ 62 w 437"/>
                <a:gd name="T5" fmla="*/ 0 h 437"/>
                <a:gd name="T6" fmla="*/ 0 w 437"/>
                <a:gd name="T7" fmla="*/ 62 h 437"/>
                <a:gd name="T8" fmla="*/ 0 w 437"/>
                <a:gd name="T9" fmla="*/ 375 h 437"/>
                <a:gd name="T10" fmla="*/ 62 w 437"/>
                <a:gd name="T11" fmla="*/ 437 h 437"/>
                <a:gd name="T12" fmla="*/ 374 w 437"/>
                <a:gd name="T13" fmla="*/ 437 h 437"/>
                <a:gd name="T14" fmla="*/ 437 w 437"/>
                <a:gd name="T15" fmla="*/ 375 h 437"/>
                <a:gd name="T16" fmla="*/ 437 w 437"/>
                <a:gd name="T17" fmla="*/ 62 h 437"/>
                <a:gd name="T18" fmla="*/ 312 w 437"/>
                <a:gd name="T19" fmla="*/ 312 h 437"/>
                <a:gd name="T20" fmla="*/ 124 w 437"/>
                <a:gd name="T21" fmla="*/ 312 h 437"/>
                <a:gd name="T22" fmla="*/ 124 w 437"/>
                <a:gd name="T23" fmla="*/ 125 h 437"/>
                <a:gd name="T24" fmla="*/ 312 w 437"/>
                <a:gd name="T25" fmla="*/ 125 h 437"/>
                <a:gd name="T26" fmla="*/ 312 w 437"/>
                <a:gd name="T27" fmla="*/ 312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7" h="437">
                  <a:moveTo>
                    <a:pt x="437" y="62"/>
                  </a:moveTo>
                  <a:cubicBezTo>
                    <a:pt x="437" y="28"/>
                    <a:pt x="409" y="0"/>
                    <a:pt x="374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27" y="0"/>
                    <a:pt x="0" y="28"/>
                    <a:pt x="0" y="62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0" y="409"/>
                    <a:pt x="27" y="437"/>
                    <a:pt x="62" y="437"/>
                  </a:cubicBezTo>
                  <a:cubicBezTo>
                    <a:pt x="374" y="437"/>
                    <a:pt x="374" y="437"/>
                    <a:pt x="374" y="437"/>
                  </a:cubicBezTo>
                  <a:cubicBezTo>
                    <a:pt x="409" y="437"/>
                    <a:pt x="437" y="409"/>
                    <a:pt x="437" y="375"/>
                  </a:cubicBezTo>
                  <a:lnTo>
                    <a:pt x="437" y="62"/>
                  </a:lnTo>
                  <a:close/>
                  <a:moveTo>
                    <a:pt x="312" y="312"/>
                  </a:moveTo>
                  <a:cubicBezTo>
                    <a:pt x="124" y="312"/>
                    <a:pt x="124" y="312"/>
                    <a:pt x="124" y="312"/>
                  </a:cubicBezTo>
                  <a:cubicBezTo>
                    <a:pt x="124" y="125"/>
                    <a:pt x="124" y="125"/>
                    <a:pt x="124" y="125"/>
                  </a:cubicBezTo>
                  <a:cubicBezTo>
                    <a:pt x="312" y="125"/>
                    <a:pt x="312" y="125"/>
                    <a:pt x="312" y="125"/>
                  </a:cubicBezTo>
                  <a:lnTo>
                    <a:pt x="312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0" name="Freeform 19">
              <a:extLst>
                <a:ext uri="{FF2B5EF4-FFF2-40B4-BE49-F238E27FC236}">
                  <a16:creationId xmlns:a16="http://schemas.microsoft.com/office/drawing/2014/main" id="{DD307DF4-9BDD-9CB6-E6FD-FF1DA7226F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9400" y="5924550"/>
              <a:ext cx="287338" cy="288925"/>
            </a:xfrm>
            <a:custGeom>
              <a:avLst/>
              <a:gdLst>
                <a:gd name="T0" fmla="*/ 937 w 1874"/>
                <a:gd name="T1" fmla="*/ 0 h 1874"/>
                <a:gd name="T2" fmla="*/ 0 w 1874"/>
                <a:gd name="T3" fmla="*/ 937 h 1874"/>
                <a:gd name="T4" fmla="*/ 937 w 1874"/>
                <a:gd name="T5" fmla="*/ 1874 h 1874"/>
                <a:gd name="T6" fmla="*/ 1874 w 1874"/>
                <a:gd name="T7" fmla="*/ 937 h 1874"/>
                <a:gd name="T8" fmla="*/ 937 w 1874"/>
                <a:gd name="T9" fmla="*/ 0 h 1874"/>
                <a:gd name="T10" fmla="*/ 937 w 1874"/>
                <a:gd name="T11" fmla="*/ 1750 h 1874"/>
                <a:gd name="T12" fmla="*/ 125 w 1874"/>
                <a:gd name="T13" fmla="*/ 937 h 1874"/>
                <a:gd name="T14" fmla="*/ 937 w 1874"/>
                <a:gd name="T15" fmla="*/ 125 h 1874"/>
                <a:gd name="T16" fmla="*/ 1749 w 1874"/>
                <a:gd name="T17" fmla="*/ 937 h 1874"/>
                <a:gd name="T18" fmla="*/ 937 w 1874"/>
                <a:gd name="T19" fmla="*/ 1750 h 1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74" h="1874">
                  <a:moveTo>
                    <a:pt x="937" y="0"/>
                  </a:moveTo>
                  <a:cubicBezTo>
                    <a:pt x="420" y="0"/>
                    <a:pt x="0" y="420"/>
                    <a:pt x="0" y="937"/>
                  </a:cubicBezTo>
                  <a:cubicBezTo>
                    <a:pt x="0" y="1455"/>
                    <a:pt x="420" y="1874"/>
                    <a:pt x="937" y="1874"/>
                  </a:cubicBezTo>
                  <a:cubicBezTo>
                    <a:pt x="1455" y="1874"/>
                    <a:pt x="1874" y="1455"/>
                    <a:pt x="1874" y="937"/>
                  </a:cubicBezTo>
                  <a:cubicBezTo>
                    <a:pt x="1873" y="420"/>
                    <a:pt x="1454" y="1"/>
                    <a:pt x="937" y="0"/>
                  </a:cubicBezTo>
                  <a:moveTo>
                    <a:pt x="937" y="1750"/>
                  </a:moveTo>
                  <a:cubicBezTo>
                    <a:pt x="489" y="1750"/>
                    <a:pt x="125" y="1386"/>
                    <a:pt x="125" y="937"/>
                  </a:cubicBezTo>
                  <a:cubicBezTo>
                    <a:pt x="125" y="489"/>
                    <a:pt x="489" y="125"/>
                    <a:pt x="937" y="125"/>
                  </a:cubicBezTo>
                  <a:cubicBezTo>
                    <a:pt x="1386" y="125"/>
                    <a:pt x="1749" y="489"/>
                    <a:pt x="1749" y="937"/>
                  </a:cubicBezTo>
                  <a:cubicBezTo>
                    <a:pt x="1749" y="1386"/>
                    <a:pt x="1385" y="1749"/>
                    <a:pt x="937" y="175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1" name="Freeform 20">
              <a:extLst>
                <a:ext uri="{FF2B5EF4-FFF2-40B4-BE49-F238E27FC236}">
                  <a16:creationId xmlns:a16="http://schemas.microsoft.com/office/drawing/2014/main" id="{067F4B04-393E-C249-61AC-5D434D9B4D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6550" y="5961063"/>
              <a:ext cx="131763" cy="157163"/>
            </a:xfrm>
            <a:custGeom>
              <a:avLst/>
              <a:gdLst>
                <a:gd name="T0" fmla="*/ 563 w 862"/>
                <a:gd name="T1" fmla="*/ 260 h 1020"/>
                <a:gd name="T2" fmla="*/ 645 w 862"/>
                <a:gd name="T3" fmla="*/ 269 h 1020"/>
                <a:gd name="T4" fmla="*/ 553 w 862"/>
                <a:gd name="T5" fmla="*/ 327 h 1020"/>
                <a:gd name="T6" fmla="*/ 620 w 862"/>
                <a:gd name="T7" fmla="*/ 433 h 1020"/>
                <a:gd name="T8" fmla="*/ 831 w 862"/>
                <a:gd name="T9" fmla="*/ 300 h 1020"/>
                <a:gd name="T10" fmla="*/ 859 w 862"/>
                <a:gd name="T11" fmla="*/ 259 h 1020"/>
                <a:gd name="T12" fmla="*/ 848 w 862"/>
                <a:gd name="T13" fmla="*/ 210 h 1020"/>
                <a:gd name="T14" fmla="*/ 694 w 862"/>
                <a:gd name="T15" fmla="*/ 0 h 1020"/>
                <a:gd name="T16" fmla="*/ 593 w 862"/>
                <a:gd name="T17" fmla="*/ 73 h 1020"/>
                <a:gd name="T18" fmla="*/ 643 w 862"/>
                <a:gd name="T19" fmla="*/ 141 h 1020"/>
                <a:gd name="T20" fmla="*/ 194 w 862"/>
                <a:gd name="T21" fmla="*/ 272 h 1020"/>
                <a:gd name="T22" fmla="*/ 1 w 862"/>
                <a:gd name="T23" fmla="*/ 697 h 1020"/>
                <a:gd name="T24" fmla="*/ 103 w 862"/>
                <a:gd name="T25" fmla="*/ 1020 h 1020"/>
                <a:gd name="T26" fmla="*/ 205 w 862"/>
                <a:gd name="T27" fmla="*/ 948 h 1020"/>
                <a:gd name="T28" fmla="*/ 175 w 862"/>
                <a:gd name="T29" fmla="*/ 496 h 1020"/>
                <a:gd name="T30" fmla="*/ 563 w 862"/>
                <a:gd name="T31" fmla="*/ 260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62" h="1020">
                  <a:moveTo>
                    <a:pt x="563" y="260"/>
                  </a:moveTo>
                  <a:cubicBezTo>
                    <a:pt x="591" y="260"/>
                    <a:pt x="618" y="263"/>
                    <a:pt x="645" y="269"/>
                  </a:cubicBezTo>
                  <a:cubicBezTo>
                    <a:pt x="553" y="327"/>
                    <a:pt x="553" y="327"/>
                    <a:pt x="553" y="327"/>
                  </a:cubicBezTo>
                  <a:cubicBezTo>
                    <a:pt x="620" y="433"/>
                    <a:pt x="620" y="433"/>
                    <a:pt x="620" y="433"/>
                  </a:cubicBezTo>
                  <a:cubicBezTo>
                    <a:pt x="831" y="300"/>
                    <a:pt x="831" y="300"/>
                    <a:pt x="831" y="300"/>
                  </a:cubicBezTo>
                  <a:cubicBezTo>
                    <a:pt x="845" y="291"/>
                    <a:pt x="855" y="276"/>
                    <a:pt x="859" y="259"/>
                  </a:cubicBezTo>
                  <a:cubicBezTo>
                    <a:pt x="862" y="242"/>
                    <a:pt x="858" y="224"/>
                    <a:pt x="848" y="21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593" y="73"/>
                    <a:pt x="593" y="73"/>
                    <a:pt x="593" y="73"/>
                  </a:cubicBezTo>
                  <a:cubicBezTo>
                    <a:pt x="643" y="141"/>
                    <a:pt x="643" y="141"/>
                    <a:pt x="643" y="141"/>
                  </a:cubicBezTo>
                  <a:cubicBezTo>
                    <a:pt x="482" y="117"/>
                    <a:pt x="318" y="165"/>
                    <a:pt x="194" y="272"/>
                  </a:cubicBezTo>
                  <a:cubicBezTo>
                    <a:pt x="71" y="379"/>
                    <a:pt x="0" y="534"/>
                    <a:pt x="1" y="697"/>
                  </a:cubicBezTo>
                  <a:cubicBezTo>
                    <a:pt x="1" y="813"/>
                    <a:pt x="36" y="926"/>
                    <a:pt x="103" y="1020"/>
                  </a:cubicBezTo>
                  <a:cubicBezTo>
                    <a:pt x="205" y="948"/>
                    <a:pt x="205" y="948"/>
                    <a:pt x="205" y="948"/>
                  </a:cubicBezTo>
                  <a:cubicBezTo>
                    <a:pt x="111" y="815"/>
                    <a:pt x="100" y="640"/>
                    <a:pt x="175" y="496"/>
                  </a:cubicBezTo>
                  <a:cubicBezTo>
                    <a:pt x="250" y="351"/>
                    <a:pt x="400" y="260"/>
                    <a:pt x="563" y="26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2" name="Freeform 21">
              <a:extLst>
                <a:ext uri="{FF2B5EF4-FFF2-40B4-BE49-F238E27FC236}">
                  <a16:creationId xmlns:a16="http://schemas.microsoft.com/office/drawing/2014/main" id="{83521879-138B-868E-167E-AEC5AA2B7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6238" y="6018213"/>
              <a:ext cx="138113" cy="157163"/>
            </a:xfrm>
            <a:custGeom>
              <a:avLst/>
              <a:gdLst>
                <a:gd name="T0" fmla="*/ 657 w 894"/>
                <a:gd name="T1" fmla="*/ 72 h 1021"/>
                <a:gd name="T2" fmla="*/ 686 w 894"/>
                <a:gd name="T3" fmla="*/ 525 h 1021"/>
                <a:gd name="T4" fmla="*/ 298 w 894"/>
                <a:gd name="T5" fmla="*/ 760 h 1021"/>
                <a:gd name="T6" fmla="*/ 216 w 894"/>
                <a:gd name="T7" fmla="*/ 752 h 1021"/>
                <a:gd name="T8" fmla="*/ 308 w 894"/>
                <a:gd name="T9" fmla="*/ 694 h 1021"/>
                <a:gd name="T10" fmla="*/ 242 w 894"/>
                <a:gd name="T11" fmla="*/ 588 h 1021"/>
                <a:gd name="T12" fmla="*/ 31 w 894"/>
                <a:gd name="T13" fmla="*/ 721 h 1021"/>
                <a:gd name="T14" fmla="*/ 3 w 894"/>
                <a:gd name="T15" fmla="*/ 762 h 1021"/>
                <a:gd name="T16" fmla="*/ 14 w 894"/>
                <a:gd name="T17" fmla="*/ 810 h 1021"/>
                <a:gd name="T18" fmla="*/ 167 w 894"/>
                <a:gd name="T19" fmla="*/ 1021 h 1021"/>
                <a:gd name="T20" fmla="*/ 268 w 894"/>
                <a:gd name="T21" fmla="*/ 947 h 1021"/>
                <a:gd name="T22" fmla="*/ 218 w 894"/>
                <a:gd name="T23" fmla="*/ 879 h 1021"/>
                <a:gd name="T24" fmla="*/ 777 w 894"/>
                <a:gd name="T25" fmla="*/ 617 h 1021"/>
                <a:gd name="T26" fmla="*/ 759 w 894"/>
                <a:gd name="T27" fmla="*/ 0 h 1021"/>
                <a:gd name="T28" fmla="*/ 657 w 894"/>
                <a:gd name="T29" fmla="*/ 72 h 10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94" h="1021">
                  <a:moveTo>
                    <a:pt x="657" y="72"/>
                  </a:moveTo>
                  <a:cubicBezTo>
                    <a:pt x="750" y="206"/>
                    <a:pt x="762" y="380"/>
                    <a:pt x="686" y="525"/>
                  </a:cubicBezTo>
                  <a:cubicBezTo>
                    <a:pt x="611" y="670"/>
                    <a:pt x="462" y="761"/>
                    <a:pt x="298" y="760"/>
                  </a:cubicBezTo>
                  <a:cubicBezTo>
                    <a:pt x="271" y="760"/>
                    <a:pt x="243" y="757"/>
                    <a:pt x="216" y="752"/>
                  </a:cubicBezTo>
                  <a:cubicBezTo>
                    <a:pt x="308" y="694"/>
                    <a:pt x="308" y="694"/>
                    <a:pt x="308" y="694"/>
                  </a:cubicBezTo>
                  <a:cubicBezTo>
                    <a:pt x="242" y="588"/>
                    <a:pt x="242" y="588"/>
                    <a:pt x="242" y="588"/>
                  </a:cubicBezTo>
                  <a:cubicBezTo>
                    <a:pt x="31" y="721"/>
                    <a:pt x="31" y="721"/>
                    <a:pt x="31" y="721"/>
                  </a:cubicBezTo>
                  <a:cubicBezTo>
                    <a:pt x="16" y="730"/>
                    <a:pt x="6" y="745"/>
                    <a:pt x="3" y="762"/>
                  </a:cubicBezTo>
                  <a:cubicBezTo>
                    <a:pt x="0" y="779"/>
                    <a:pt x="3" y="796"/>
                    <a:pt x="14" y="810"/>
                  </a:cubicBezTo>
                  <a:cubicBezTo>
                    <a:pt x="167" y="1021"/>
                    <a:pt x="167" y="1021"/>
                    <a:pt x="167" y="1021"/>
                  </a:cubicBezTo>
                  <a:cubicBezTo>
                    <a:pt x="268" y="947"/>
                    <a:pt x="268" y="947"/>
                    <a:pt x="268" y="947"/>
                  </a:cubicBezTo>
                  <a:cubicBezTo>
                    <a:pt x="218" y="879"/>
                    <a:pt x="218" y="879"/>
                    <a:pt x="218" y="879"/>
                  </a:cubicBezTo>
                  <a:cubicBezTo>
                    <a:pt x="440" y="911"/>
                    <a:pt x="659" y="808"/>
                    <a:pt x="777" y="617"/>
                  </a:cubicBezTo>
                  <a:cubicBezTo>
                    <a:pt x="894" y="426"/>
                    <a:pt x="887" y="184"/>
                    <a:pt x="759" y="0"/>
                  </a:cubicBezTo>
                  <a:lnTo>
                    <a:pt x="657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D29D7A34-CC81-264D-FBA6-C7B883D71347}"/>
              </a:ext>
            </a:extLst>
          </p:cNvPr>
          <p:cNvGrpSpPr/>
          <p:nvPr/>
        </p:nvGrpSpPr>
        <p:grpSpPr>
          <a:xfrm>
            <a:off x="4233603" y="3981185"/>
            <a:ext cx="416963" cy="417819"/>
            <a:chOff x="2174875" y="4595813"/>
            <a:chExt cx="771525" cy="773113"/>
          </a:xfrm>
          <a:solidFill>
            <a:schemeClr val="bg1"/>
          </a:solidFill>
        </p:grpSpPr>
        <p:sp>
          <p:nvSpPr>
            <p:cNvPr id="84" name="Freeform 24">
              <a:extLst>
                <a:ext uri="{FF2B5EF4-FFF2-40B4-BE49-F238E27FC236}">
                  <a16:creationId xmlns:a16="http://schemas.microsoft.com/office/drawing/2014/main" id="{67B1FF32-14F3-D979-1F40-FB1315BA83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17775" y="5100638"/>
              <a:ext cx="77788" cy="77788"/>
            </a:xfrm>
            <a:custGeom>
              <a:avLst/>
              <a:gdLst>
                <a:gd name="T0" fmla="*/ 121 w 242"/>
                <a:gd name="T1" fmla="*/ 0 h 242"/>
                <a:gd name="T2" fmla="*/ 0 w 242"/>
                <a:gd name="T3" fmla="*/ 121 h 242"/>
                <a:gd name="T4" fmla="*/ 121 w 242"/>
                <a:gd name="T5" fmla="*/ 242 h 242"/>
                <a:gd name="T6" fmla="*/ 242 w 242"/>
                <a:gd name="T7" fmla="*/ 121 h 242"/>
                <a:gd name="T8" fmla="*/ 121 w 242"/>
                <a:gd name="T9" fmla="*/ 0 h 242"/>
                <a:gd name="T10" fmla="*/ 121 w 242"/>
                <a:gd name="T11" fmla="*/ 149 h 242"/>
                <a:gd name="T12" fmla="*/ 93 w 242"/>
                <a:gd name="T13" fmla="*/ 121 h 242"/>
                <a:gd name="T14" fmla="*/ 121 w 242"/>
                <a:gd name="T15" fmla="*/ 93 h 242"/>
                <a:gd name="T16" fmla="*/ 149 w 242"/>
                <a:gd name="T17" fmla="*/ 121 h 242"/>
                <a:gd name="T18" fmla="*/ 121 w 242"/>
                <a:gd name="T19" fmla="*/ 149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2" h="242">
                  <a:moveTo>
                    <a:pt x="121" y="0"/>
                  </a:moveTo>
                  <a:cubicBezTo>
                    <a:pt x="54" y="0"/>
                    <a:pt x="0" y="54"/>
                    <a:pt x="0" y="121"/>
                  </a:cubicBezTo>
                  <a:cubicBezTo>
                    <a:pt x="0" y="188"/>
                    <a:pt x="54" y="242"/>
                    <a:pt x="121" y="242"/>
                  </a:cubicBezTo>
                  <a:cubicBezTo>
                    <a:pt x="188" y="242"/>
                    <a:pt x="242" y="188"/>
                    <a:pt x="242" y="121"/>
                  </a:cubicBezTo>
                  <a:cubicBezTo>
                    <a:pt x="242" y="54"/>
                    <a:pt x="188" y="0"/>
                    <a:pt x="121" y="0"/>
                  </a:cubicBezTo>
                  <a:close/>
                  <a:moveTo>
                    <a:pt x="121" y="149"/>
                  </a:moveTo>
                  <a:cubicBezTo>
                    <a:pt x="106" y="149"/>
                    <a:pt x="93" y="137"/>
                    <a:pt x="93" y="121"/>
                  </a:cubicBezTo>
                  <a:cubicBezTo>
                    <a:pt x="93" y="106"/>
                    <a:pt x="106" y="93"/>
                    <a:pt x="121" y="93"/>
                  </a:cubicBezTo>
                  <a:cubicBezTo>
                    <a:pt x="136" y="93"/>
                    <a:pt x="149" y="106"/>
                    <a:pt x="149" y="121"/>
                  </a:cubicBezTo>
                  <a:cubicBezTo>
                    <a:pt x="149" y="137"/>
                    <a:pt x="136" y="149"/>
                    <a:pt x="121" y="1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5" name="Freeform 25">
              <a:extLst>
                <a:ext uri="{FF2B5EF4-FFF2-40B4-BE49-F238E27FC236}">
                  <a16:creationId xmlns:a16="http://schemas.microsoft.com/office/drawing/2014/main" id="{2465C1DA-27A4-1B79-CE56-AFCC7EBDC1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2713" y="5046663"/>
              <a:ext cx="30163" cy="30163"/>
            </a:xfrm>
            <a:custGeom>
              <a:avLst/>
              <a:gdLst>
                <a:gd name="T0" fmla="*/ 79 w 93"/>
                <a:gd name="T1" fmla="*/ 14 h 93"/>
                <a:gd name="T2" fmla="*/ 46 w 93"/>
                <a:gd name="T3" fmla="*/ 0 h 93"/>
                <a:gd name="T4" fmla="*/ 13 w 93"/>
                <a:gd name="T5" fmla="*/ 14 h 93"/>
                <a:gd name="T6" fmla="*/ 0 w 93"/>
                <a:gd name="T7" fmla="*/ 47 h 93"/>
                <a:gd name="T8" fmla="*/ 13 w 93"/>
                <a:gd name="T9" fmla="*/ 80 h 93"/>
                <a:gd name="T10" fmla="*/ 46 w 93"/>
                <a:gd name="T11" fmla="*/ 93 h 93"/>
                <a:gd name="T12" fmla="*/ 79 w 93"/>
                <a:gd name="T13" fmla="*/ 80 h 93"/>
                <a:gd name="T14" fmla="*/ 93 w 93"/>
                <a:gd name="T15" fmla="*/ 47 h 93"/>
                <a:gd name="T16" fmla="*/ 79 w 93"/>
                <a:gd name="T17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" h="93">
                  <a:moveTo>
                    <a:pt x="79" y="14"/>
                  </a:moveTo>
                  <a:cubicBezTo>
                    <a:pt x="71" y="5"/>
                    <a:pt x="59" y="0"/>
                    <a:pt x="46" y="0"/>
                  </a:cubicBezTo>
                  <a:cubicBezTo>
                    <a:pt x="34" y="0"/>
                    <a:pt x="22" y="5"/>
                    <a:pt x="13" y="14"/>
                  </a:cubicBezTo>
                  <a:cubicBezTo>
                    <a:pt x="5" y="23"/>
                    <a:pt x="0" y="35"/>
                    <a:pt x="0" y="47"/>
                  </a:cubicBezTo>
                  <a:cubicBezTo>
                    <a:pt x="0" y="59"/>
                    <a:pt x="5" y="71"/>
                    <a:pt x="13" y="80"/>
                  </a:cubicBezTo>
                  <a:cubicBezTo>
                    <a:pt x="22" y="89"/>
                    <a:pt x="34" y="93"/>
                    <a:pt x="46" y="93"/>
                  </a:cubicBezTo>
                  <a:cubicBezTo>
                    <a:pt x="59" y="93"/>
                    <a:pt x="71" y="89"/>
                    <a:pt x="79" y="80"/>
                  </a:cubicBezTo>
                  <a:cubicBezTo>
                    <a:pt x="88" y="71"/>
                    <a:pt x="93" y="59"/>
                    <a:pt x="93" y="47"/>
                  </a:cubicBezTo>
                  <a:cubicBezTo>
                    <a:pt x="93" y="35"/>
                    <a:pt x="88" y="23"/>
                    <a:pt x="79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6" name="Freeform 26">
              <a:extLst>
                <a:ext uri="{FF2B5EF4-FFF2-40B4-BE49-F238E27FC236}">
                  <a16:creationId xmlns:a16="http://schemas.microsoft.com/office/drawing/2014/main" id="{FC0E819A-7454-7734-ED4A-3658387668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74875" y="4595813"/>
              <a:ext cx="771525" cy="773113"/>
            </a:xfrm>
            <a:custGeom>
              <a:avLst/>
              <a:gdLst>
                <a:gd name="T0" fmla="*/ 2099 w 2382"/>
                <a:gd name="T1" fmla="*/ 675 h 2387"/>
                <a:gd name="T2" fmla="*/ 1377 w 2382"/>
                <a:gd name="T3" fmla="*/ 19 h 2387"/>
                <a:gd name="T4" fmla="*/ 537 w 2382"/>
                <a:gd name="T5" fmla="*/ 7 h 2387"/>
                <a:gd name="T6" fmla="*/ 310 w 2382"/>
                <a:gd name="T7" fmla="*/ 675 h 2387"/>
                <a:gd name="T8" fmla="*/ 0 w 2382"/>
                <a:gd name="T9" fmla="*/ 870 h 2387"/>
                <a:gd name="T10" fmla="*/ 0 w 2382"/>
                <a:gd name="T11" fmla="*/ 882 h 2387"/>
                <a:gd name="T12" fmla="*/ 233 w 2382"/>
                <a:gd name="T13" fmla="*/ 2387 h 2387"/>
                <a:gd name="T14" fmla="*/ 1900 w 2382"/>
                <a:gd name="T15" fmla="*/ 2387 h 2387"/>
                <a:gd name="T16" fmla="*/ 2382 w 2382"/>
                <a:gd name="T17" fmla="*/ 2154 h 2387"/>
                <a:gd name="T18" fmla="*/ 2149 w 2382"/>
                <a:gd name="T19" fmla="*/ 675 h 2387"/>
                <a:gd name="T20" fmla="*/ 2149 w 2382"/>
                <a:gd name="T21" fmla="*/ 768 h 2387"/>
                <a:gd name="T22" fmla="*/ 2289 w 2382"/>
                <a:gd name="T23" fmla="*/ 1280 h 2387"/>
                <a:gd name="T24" fmla="*/ 2130 w 2382"/>
                <a:gd name="T25" fmla="*/ 1391 h 2387"/>
                <a:gd name="T26" fmla="*/ 1903 w 2382"/>
                <a:gd name="T27" fmla="*/ 973 h 2387"/>
                <a:gd name="T28" fmla="*/ 1256 w 2382"/>
                <a:gd name="T29" fmla="*/ 272 h 2387"/>
                <a:gd name="T30" fmla="*/ 1410 w 2382"/>
                <a:gd name="T31" fmla="*/ 118 h 2387"/>
                <a:gd name="T32" fmla="*/ 1773 w 2382"/>
                <a:gd name="T33" fmla="*/ 971 h 2387"/>
                <a:gd name="T34" fmla="*/ 1799 w 2382"/>
                <a:gd name="T35" fmla="*/ 860 h 2387"/>
                <a:gd name="T36" fmla="*/ 1799 w 2382"/>
                <a:gd name="T37" fmla="*/ 658 h 2387"/>
                <a:gd name="T38" fmla="*/ 1544 w 2382"/>
                <a:gd name="T39" fmla="*/ 337 h 2387"/>
                <a:gd name="T40" fmla="*/ 1342 w 2382"/>
                <a:gd name="T41" fmla="*/ 337 h 2387"/>
                <a:gd name="T42" fmla="*/ 642 w 2382"/>
                <a:gd name="T43" fmla="*/ 971 h 2387"/>
                <a:gd name="T44" fmla="*/ 1256 w 2382"/>
                <a:gd name="T45" fmla="*/ 272 h 2387"/>
                <a:gd name="T46" fmla="*/ 902 w 2382"/>
                <a:gd name="T47" fmla="*/ 971 h 2387"/>
                <a:gd name="T48" fmla="*/ 1313 w 2382"/>
                <a:gd name="T49" fmla="*/ 431 h 2387"/>
                <a:gd name="T50" fmla="*/ 1704 w 2382"/>
                <a:gd name="T51" fmla="*/ 629 h 2387"/>
                <a:gd name="T52" fmla="*/ 1556 w 2382"/>
                <a:gd name="T53" fmla="*/ 971 h 2387"/>
                <a:gd name="T54" fmla="*/ 1119 w 2382"/>
                <a:gd name="T55" fmla="*/ 796 h 2387"/>
                <a:gd name="T56" fmla="*/ 999 w 2382"/>
                <a:gd name="T57" fmla="*/ 971 h 2387"/>
                <a:gd name="T58" fmla="*/ 1239 w 2382"/>
                <a:gd name="T59" fmla="*/ 971 h 2387"/>
                <a:gd name="T60" fmla="*/ 631 w 2382"/>
                <a:gd name="T61" fmla="*/ 429 h 2387"/>
                <a:gd name="T62" fmla="*/ 799 w 2382"/>
                <a:gd name="T63" fmla="*/ 332 h 2387"/>
                <a:gd name="T64" fmla="*/ 704 w 2382"/>
                <a:gd name="T65" fmla="*/ 692 h 2387"/>
                <a:gd name="T66" fmla="*/ 558 w 2382"/>
                <a:gd name="T67" fmla="*/ 109 h 2387"/>
                <a:gd name="T68" fmla="*/ 1084 w 2382"/>
                <a:gd name="T69" fmla="*/ 312 h 2387"/>
                <a:gd name="T70" fmla="*/ 748 w 2382"/>
                <a:gd name="T71" fmla="*/ 236 h 2387"/>
                <a:gd name="T72" fmla="*/ 681 w 2382"/>
                <a:gd name="T73" fmla="*/ 323 h 2387"/>
                <a:gd name="T74" fmla="*/ 551 w 2382"/>
                <a:gd name="T75" fmla="*/ 366 h 2387"/>
                <a:gd name="T76" fmla="*/ 326 w 2382"/>
                <a:gd name="T77" fmla="*/ 973 h 2387"/>
                <a:gd name="T78" fmla="*/ 196 w 2382"/>
                <a:gd name="T79" fmla="*/ 768 h 2387"/>
                <a:gd name="T80" fmla="*/ 230 w 2382"/>
                <a:gd name="T81" fmla="*/ 973 h 2387"/>
                <a:gd name="T82" fmla="*/ 93 w 2382"/>
                <a:gd name="T83" fmla="*/ 870 h 2387"/>
                <a:gd name="T84" fmla="*/ 2289 w 2382"/>
                <a:gd name="T85" fmla="*/ 2154 h 2387"/>
                <a:gd name="T86" fmla="*/ 2084 w 2382"/>
                <a:gd name="T87" fmla="*/ 2293 h 2387"/>
                <a:gd name="T88" fmla="*/ 2130 w 2382"/>
                <a:gd name="T89" fmla="*/ 1967 h 2387"/>
                <a:gd name="T90" fmla="*/ 2289 w 2382"/>
                <a:gd name="T91" fmla="*/ 1925 h 2387"/>
                <a:gd name="T92" fmla="*/ 2289 w 2382"/>
                <a:gd name="T93" fmla="*/ 1744 h 2387"/>
                <a:gd name="T94" fmla="*/ 1182 w 2382"/>
                <a:gd name="T95" fmla="*/ 1874 h 2387"/>
                <a:gd name="T96" fmla="*/ 1182 w 2382"/>
                <a:gd name="T97" fmla="*/ 1484 h 2387"/>
                <a:gd name="T98" fmla="*/ 1369 w 2382"/>
                <a:gd name="T99" fmla="*/ 1437 h 2387"/>
                <a:gd name="T100" fmla="*/ 1182 w 2382"/>
                <a:gd name="T101" fmla="*/ 1391 h 2387"/>
                <a:gd name="T102" fmla="*/ 1182 w 2382"/>
                <a:gd name="T103" fmla="*/ 1967 h 2387"/>
                <a:gd name="T104" fmla="*/ 2037 w 2382"/>
                <a:gd name="T105" fmla="*/ 2154 h 2387"/>
                <a:gd name="T106" fmla="*/ 317 w 2382"/>
                <a:gd name="T107" fmla="*/ 2294 h 2387"/>
                <a:gd name="T108" fmla="*/ 270 w 2382"/>
                <a:gd name="T109" fmla="*/ 1723 h 2387"/>
                <a:gd name="T110" fmla="*/ 224 w 2382"/>
                <a:gd name="T111" fmla="*/ 2293 h 2387"/>
                <a:gd name="T112" fmla="*/ 93 w 2382"/>
                <a:gd name="T113" fmla="*/ 1037 h 2387"/>
                <a:gd name="T114" fmla="*/ 1898 w 2382"/>
                <a:gd name="T115" fmla="*/ 1066 h 2387"/>
                <a:gd name="T116" fmla="*/ 2037 w 2382"/>
                <a:gd name="T117" fmla="*/ 1391 h 2387"/>
                <a:gd name="T118" fmla="*/ 1655 w 2382"/>
                <a:gd name="T119" fmla="*/ 1437 h 2387"/>
                <a:gd name="T120" fmla="*/ 2178 w 2382"/>
                <a:gd name="T121" fmla="*/ 1484 h 2387"/>
                <a:gd name="T122" fmla="*/ 2289 w 2382"/>
                <a:gd name="T123" fmla="*/ 1744 h 2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82" h="2387">
                  <a:moveTo>
                    <a:pt x="2149" y="675"/>
                  </a:moveTo>
                  <a:cubicBezTo>
                    <a:pt x="2099" y="675"/>
                    <a:pt x="2099" y="675"/>
                    <a:pt x="2099" y="675"/>
                  </a:cubicBezTo>
                  <a:cubicBezTo>
                    <a:pt x="1443" y="19"/>
                    <a:pt x="1443" y="19"/>
                    <a:pt x="1443" y="19"/>
                  </a:cubicBezTo>
                  <a:cubicBezTo>
                    <a:pt x="1425" y="1"/>
                    <a:pt x="1395" y="1"/>
                    <a:pt x="1377" y="19"/>
                  </a:cubicBezTo>
                  <a:cubicBezTo>
                    <a:pt x="1209" y="187"/>
                    <a:pt x="1209" y="187"/>
                    <a:pt x="1209" y="187"/>
                  </a:cubicBezTo>
                  <a:cubicBezTo>
                    <a:pt x="537" y="7"/>
                    <a:pt x="537" y="7"/>
                    <a:pt x="537" y="7"/>
                  </a:cubicBezTo>
                  <a:cubicBezTo>
                    <a:pt x="512" y="0"/>
                    <a:pt x="487" y="15"/>
                    <a:pt x="480" y="40"/>
                  </a:cubicBezTo>
                  <a:cubicBezTo>
                    <a:pt x="310" y="675"/>
                    <a:pt x="310" y="675"/>
                    <a:pt x="310" y="675"/>
                  </a:cubicBezTo>
                  <a:cubicBezTo>
                    <a:pt x="196" y="675"/>
                    <a:pt x="196" y="675"/>
                    <a:pt x="196" y="675"/>
                  </a:cubicBezTo>
                  <a:cubicBezTo>
                    <a:pt x="88" y="675"/>
                    <a:pt x="0" y="763"/>
                    <a:pt x="0" y="870"/>
                  </a:cubicBezTo>
                  <a:cubicBezTo>
                    <a:pt x="0" y="873"/>
                    <a:pt x="1" y="876"/>
                    <a:pt x="1" y="878"/>
                  </a:cubicBezTo>
                  <a:cubicBezTo>
                    <a:pt x="1" y="879"/>
                    <a:pt x="0" y="881"/>
                    <a:pt x="0" y="882"/>
                  </a:cubicBezTo>
                  <a:cubicBezTo>
                    <a:pt x="0" y="2154"/>
                    <a:pt x="0" y="2154"/>
                    <a:pt x="0" y="2154"/>
                  </a:cubicBezTo>
                  <a:cubicBezTo>
                    <a:pt x="0" y="2282"/>
                    <a:pt x="105" y="2387"/>
                    <a:pt x="233" y="2387"/>
                  </a:cubicBezTo>
                  <a:cubicBezTo>
                    <a:pt x="1898" y="2387"/>
                    <a:pt x="1898" y="2387"/>
                    <a:pt x="1898" y="2387"/>
                  </a:cubicBezTo>
                  <a:cubicBezTo>
                    <a:pt x="1899" y="2387"/>
                    <a:pt x="1899" y="2387"/>
                    <a:pt x="1900" y="2387"/>
                  </a:cubicBezTo>
                  <a:cubicBezTo>
                    <a:pt x="2149" y="2387"/>
                    <a:pt x="2149" y="2387"/>
                    <a:pt x="2149" y="2387"/>
                  </a:cubicBezTo>
                  <a:cubicBezTo>
                    <a:pt x="2277" y="2387"/>
                    <a:pt x="2382" y="2282"/>
                    <a:pt x="2382" y="2154"/>
                  </a:cubicBezTo>
                  <a:cubicBezTo>
                    <a:pt x="2382" y="908"/>
                    <a:pt x="2382" y="908"/>
                    <a:pt x="2382" y="908"/>
                  </a:cubicBezTo>
                  <a:cubicBezTo>
                    <a:pt x="2382" y="779"/>
                    <a:pt x="2277" y="675"/>
                    <a:pt x="2149" y="675"/>
                  </a:cubicBezTo>
                  <a:close/>
                  <a:moveTo>
                    <a:pt x="2107" y="768"/>
                  </a:moveTo>
                  <a:cubicBezTo>
                    <a:pt x="2149" y="768"/>
                    <a:pt x="2149" y="768"/>
                    <a:pt x="2149" y="768"/>
                  </a:cubicBezTo>
                  <a:cubicBezTo>
                    <a:pt x="2226" y="768"/>
                    <a:pt x="2289" y="831"/>
                    <a:pt x="2289" y="908"/>
                  </a:cubicBezTo>
                  <a:cubicBezTo>
                    <a:pt x="2289" y="1280"/>
                    <a:pt x="2289" y="1280"/>
                    <a:pt x="2289" y="1280"/>
                  </a:cubicBezTo>
                  <a:cubicBezTo>
                    <a:pt x="2289" y="1341"/>
                    <a:pt x="2239" y="1391"/>
                    <a:pt x="2178" y="1391"/>
                  </a:cubicBezTo>
                  <a:cubicBezTo>
                    <a:pt x="2130" y="1391"/>
                    <a:pt x="2130" y="1391"/>
                    <a:pt x="2130" y="1391"/>
                  </a:cubicBezTo>
                  <a:cubicBezTo>
                    <a:pt x="2130" y="1205"/>
                    <a:pt x="2130" y="1205"/>
                    <a:pt x="2130" y="1205"/>
                  </a:cubicBezTo>
                  <a:cubicBezTo>
                    <a:pt x="2130" y="1079"/>
                    <a:pt x="2029" y="975"/>
                    <a:pt x="1903" y="973"/>
                  </a:cubicBezTo>
                  <a:lnTo>
                    <a:pt x="2107" y="768"/>
                  </a:lnTo>
                  <a:close/>
                  <a:moveTo>
                    <a:pt x="1256" y="272"/>
                  </a:moveTo>
                  <a:cubicBezTo>
                    <a:pt x="1256" y="272"/>
                    <a:pt x="1256" y="272"/>
                    <a:pt x="1256" y="272"/>
                  </a:cubicBezTo>
                  <a:cubicBezTo>
                    <a:pt x="1410" y="118"/>
                    <a:pt x="1410" y="118"/>
                    <a:pt x="1410" y="118"/>
                  </a:cubicBezTo>
                  <a:cubicBezTo>
                    <a:pt x="2018" y="726"/>
                    <a:pt x="2018" y="726"/>
                    <a:pt x="2018" y="726"/>
                  </a:cubicBezTo>
                  <a:cubicBezTo>
                    <a:pt x="1773" y="971"/>
                    <a:pt x="1773" y="971"/>
                    <a:pt x="1773" y="971"/>
                  </a:cubicBezTo>
                  <a:cubicBezTo>
                    <a:pt x="1688" y="971"/>
                    <a:pt x="1688" y="971"/>
                    <a:pt x="1688" y="971"/>
                  </a:cubicBezTo>
                  <a:cubicBezTo>
                    <a:pt x="1799" y="860"/>
                    <a:pt x="1799" y="860"/>
                    <a:pt x="1799" y="860"/>
                  </a:cubicBezTo>
                  <a:cubicBezTo>
                    <a:pt x="1817" y="842"/>
                    <a:pt x="1817" y="812"/>
                    <a:pt x="1799" y="794"/>
                  </a:cubicBezTo>
                  <a:cubicBezTo>
                    <a:pt x="1761" y="756"/>
                    <a:pt x="1761" y="695"/>
                    <a:pt x="1799" y="658"/>
                  </a:cubicBezTo>
                  <a:cubicBezTo>
                    <a:pt x="1817" y="639"/>
                    <a:pt x="1817" y="610"/>
                    <a:pt x="1799" y="592"/>
                  </a:cubicBezTo>
                  <a:cubicBezTo>
                    <a:pt x="1544" y="337"/>
                    <a:pt x="1544" y="337"/>
                    <a:pt x="1544" y="337"/>
                  </a:cubicBezTo>
                  <a:cubicBezTo>
                    <a:pt x="1526" y="319"/>
                    <a:pt x="1496" y="319"/>
                    <a:pt x="1478" y="337"/>
                  </a:cubicBezTo>
                  <a:cubicBezTo>
                    <a:pt x="1441" y="374"/>
                    <a:pt x="1379" y="374"/>
                    <a:pt x="1342" y="337"/>
                  </a:cubicBezTo>
                  <a:cubicBezTo>
                    <a:pt x="1324" y="319"/>
                    <a:pt x="1294" y="319"/>
                    <a:pt x="1276" y="337"/>
                  </a:cubicBezTo>
                  <a:cubicBezTo>
                    <a:pt x="642" y="971"/>
                    <a:pt x="642" y="971"/>
                    <a:pt x="642" y="971"/>
                  </a:cubicBezTo>
                  <a:cubicBezTo>
                    <a:pt x="557" y="971"/>
                    <a:pt x="557" y="971"/>
                    <a:pt x="557" y="971"/>
                  </a:cubicBezTo>
                  <a:lnTo>
                    <a:pt x="1256" y="272"/>
                  </a:lnTo>
                  <a:close/>
                  <a:moveTo>
                    <a:pt x="1119" y="796"/>
                  </a:moveTo>
                  <a:cubicBezTo>
                    <a:pt x="1013" y="796"/>
                    <a:pt x="924" y="871"/>
                    <a:pt x="902" y="971"/>
                  </a:cubicBezTo>
                  <a:cubicBezTo>
                    <a:pt x="773" y="971"/>
                    <a:pt x="773" y="971"/>
                    <a:pt x="773" y="971"/>
                  </a:cubicBezTo>
                  <a:cubicBezTo>
                    <a:pt x="1313" y="431"/>
                    <a:pt x="1313" y="431"/>
                    <a:pt x="1313" y="431"/>
                  </a:cubicBezTo>
                  <a:cubicBezTo>
                    <a:pt x="1372" y="467"/>
                    <a:pt x="1447" y="467"/>
                    <a:pt x="1507" y="431"/>
                  </a:cubicBezTo>
                  <a:cubicBezTo>
                    <a:pt x="1704" y="629"/>
                    <a:pt x="1704" y="629"/>
                    <a:pt x="1704" y="629"/>
                  </a:cubicBezTo>
                  <a:cubicBezTo>
                    <a:pt x="1669" y="688"/>
                    <a:pt x="1669" y="763"/>
                    <a:pt x="1704" y="823"/>
                  </a:cubicBezTo>
                  <a:cubicBezTo>
                    <a:pt x="1556" y="971"/>
                    <a:pt x="1556" y="971"/>
                    <a:pt x="1556" y="971"/>
                  </a:cubicBezTo>
                  <a:cubicBezTo>
                    <a:pt x="1336" y="971"/>
                    <a:pt x="1336" y="971"/>
                    <a:pt x="1336" y="971"/>
                  </a:cubicBezTo>
                  <a:cubicBezTo>
                    <a:pt x="1314" y="871"/>
                    <a:pt x="1225" y="796"/>
                    <a:pt x="1119" y="796"/>
                  </a:cubicBezTo>
                  <a:close/>
                  <a:moveTo>
                    <a:pt x="1239" y="971"/>
                  </a:moveTo>
                  <a:cubicBezTo>
                    <a:pt x="999" y="971"/>
                    <a:pt x="999" y="971"/>
                    <a:pt x="999" y="971"/>
                  </a:cubicBezTo>
                  <a:cubicBezTo>
                    <a:pt x="1018" y="923"/>
                    <a:pt x="1065" y="889"/>
                    <a:pt x="1119" y="889"/>
                  </a:cubicBezTo>
                  <a:cubicBezTo>
                    <a:pt x="1173" y="889"/>
                    <a:pt x="1220" y="923"/>
                    <a:pt x="1239" y="971"/>
                  </a:cubicBezTo>
                  <a:close/>
                  <a:moveTo>
                    <a:pt x="507" y="889"/>
                  </a:moveTo>
                  <a:cubicBezTo>
                    <a:pt x="631" y="429"/>
                    <a:pt x="631" y="429"/>
                    <a:pt x="631" y="429"/>
                  </a:cubicBezTo>
                  <a:cubicBezTo>
                    <a:pt x="664" y="430"/>
                    <a:pt x="698" y="421"/>
                    <a:pt x="728" y="404"/>
                  </a:cubicBezTo>
                  <a:cubicBezTo>
                    <a:pt x="758" y="386"/>
                    <a:pt x="782" y="362"/>
                    <a:pt x="799" y="332"/>
                  </a:cubicBezTo>
                  <a:cubicBezTo>
                    <a:pt x="1008" y="388"/>
                    <a:pt x="1008" y="388"/>
                    <a:pt x="1008" y="388"/>
                  </a:cubicBezTo>
                  <a:cubicBezTo>
                    <a:pt x="704" y="692"/>
                    <a:pt x="704" y="692"/>
                    <a:pt x="704" y="692"/>
                  </a:cubicBezTo>
                  <a:lnTo>
                    <a:pt x="507" y="889"/>
                  </a:lnTo>
                  <a:close/>
                  <a:moveTo>
                    <a:pt x="558" y="109"/>
                  </a:moveTo>
                  <a:cubicBezTo>
                    <a:pt x="1133" y="263"/>
                    <a:pt x="1133" y="263"/>
                    <a:pt x="1133" y="263"/>
                  </a:cubicBezTo>
                  <a:cubicBezTo>
                    <a:pt x="1084" y="312"/>
                    <a:pt x="1084" y="312"/>
                    <a:pt x="1084" y="312"/>
                  </a:cubicBezTo>
                  <a:cubicBezTo>
                    <a:pt x="783" y="232"/>
                    <a:pt x="783" y="232"/>
                    <a:pt x="783" y="232"/>
                  </a:cubicBezTo>
                  <a:cubicBezTo>
                    <a:pt x="771" y="228"/>
                    <a:pt x="759" y="230"/>
                    <a:pt x="748" y="236"/>
                  </a:cubicBezTo>
                  <a:cubicBezTo>
                    <a:pt x="737" y="242"/>
                    <a:pt x="730" y="253"/>
                    <a:pt x="726" y="265"/>
                  </a:cubicBezTo>
                  <a:cubicBezTo>
                    <a:pt x="720" y="289"/>
                    <a:pt x="704" y="310"/>
                    <a:pt x="681" y="323"/>
                  </a:cubicBezTo>
                  <a:cubicBezTo>
                    <a:pt x="659" y="336"/>
                    <a:pt x="633" y="339"/>
                    <a:pt x="608" y="333"/>
                  </a:cubicBezTo>
                  <a:cubicBezTo>
                    <a:pt x="583" y="326"/>
                    <a:pt x="558" y="341"/>
                    <a:pt x="551" y="366"/>
                  </a:cubicBezTo>
                  <a:cubicBezTo>
                    <a:pt x="389" y="973"/>
                    <a:pt x="389" y="973"/>
                    <a:pt x="389" y="973"/>
                  </a:cubicBezTo>
                  <a:cubicBezTo>
                    <a:pt x="326" y="973"/>
                    <a:pt x="326" y="973"/>
                    <a:pt x="326" y="973"/>
                  </a:cubicBezTo>
                  <a:lnTo>
                    <a:pt x="558" y="109"/>
                  </a:lnTo>
                  <a:close/>
                  <a:moveTo>
                    <a:pt x="196" y="768"/>
                  </a:moveTo>
                  <a:cubicBezTo>
                    <a:pt x="285" y="768"/>
                    <a:pt x="285" y="768"/>
                    <a:pt x="285" y="768"/>
                  </a:cubicBezTo>
                  <a:cubicBezTo>
                    <a:pt x="230" y="973"/>
                    <a:pt x="230" y="973"/>
                    <a:pt x="230" y="973"/>
                  </a:cubicBezTo>
                  <a:cubicBezTo>
                    <a:pt x="196" y="973"/>
                    <a:pt x="196" y="973"/>
                    <a:pt x="196" y="973"/>
                  </a:cubicBezTo>
                  <a:cubicBezTo>
                    <a:pt x="139" y="973"/>
                    <a:pt x="93" y="927"/>
                    <a:pt x="93" y="870"/>
                  </a:cubicBezTo>
                  <a:cubicBezTo>
                    <a:pt x="93" y="814"/>
                    <a:pt x="139" y="768"/>
                    <a:pt x="196" y="768"/>
                  </a:cubicBezTo>
                  <a:close/>
                  <a:moveTo>
                    <a:pt x="2289" y="2154"/>
                  </a:moveTo>
                  <a:cubicBezTo>
                    <a:pt x="2289" y="2231"/>
                    <a:pt x="2226" y="2293"/>
                    <a:pt x="2149" y="2293"/>
                  </a:cubicBezTo>
                  <a:cubicBezTo>
                    <a:pt x="2084" y="2293"/>
                    <a:pt x="2084" y="2293"/>
                    <a:pt x="2084" y="2293"/>
                  </a:cubicBezTo>
                  <a:cubicBezTo>
                    <a:pt x="2113" y="2255"/>
                    <a:pt x="2130" y="2206"/>
                    <a:pt x="2130" y="2154"/>
                  </a:cubicBezTo>
                  <a:cubicBezTo>
                    <a:pt x="2130" y="1967"/>
                    <a:pt x="2130" y="1967"/>
                    <a:pt x="2130" y="1967"/>
                  </a:cubicBezTo>
                  <a:cubicBezTo>
                    <a:pt x="2158" y="1967"/>
                    <a:pt x="2158" y="1967"/>
                    <a:pt x="2158" y="1967"/>
                  </a:cubicBezTo>
                  <a:cubicBezTo>
                    <a:pt x="2207" y="1967"/>
                    <a:pt x="2252" y="1952"/>
                    <a:pt x="2289" y="1925"/>
                  </a:cubicBezTo>
                  <a:lnTo>
                    <a:pt x="2289" y="2154"/>
                  </a:lnTo>
                  <a:close/>
                  <a:moveTo>
                    <a:pt x="2289" y="1744"/>
                  </a:moveTo>
                  <a:cubicBezTo>
                    <a:pt x="2289" y="1816"/>
                    <a:pt x="2230" y="1874"/>
                    <a:pt x="2158" y="1874"/>
                  </a:cubicBezTo>
                  <a:cubicBezTo>
                    <a:pt x="1182" y="1874"/>
                    <a:pt x="1182" y="1874"/>
                    <a:pt x="1182" y="1874"/>
                  </a:cubicBezTo>
                  <a:cubicBezTo>
                    <a:pt x="1074" y="1874"/>
                    <a:pt x="986" y="1787"/>
                    <a:pt x="986" y="1679"/>
                  </a:cubicBezTo>
                  <a:cubicBezTo>
                    <a:pt x="986" y="1571"/>
                    <a:pt x="1074" y="1484"/>
                    <a:pt x="1182" y="1484"/>
                  </a:cubicBezTo>
                  <a:cubicBezTo>
                    <a:pt x="1323" y="1484"/>
                    <a:pt x="1323" y="1484"/>
                    <a:pt x="1323" y="1484"/>
                  </a:cubicBezTo>
                  <a:cubicBezTo>
                    <a:pt x="1348" y="1484"/>
                    <a:pt x="1369" y="1463"/>
                    <a:pt x="1369" y="1437"/>
                  </a:cubicBezTo>
                  <a:cubicBezTo>
                    <a:pt x="1369" y="1411"/>
                    <a:pt x="1348" y="1391"/>
                    <a:pt x="1323" y="1391"/>
                  </a:cubicBezTo>
                  <a:cubicBezTo>
                    <a:pt x="1182" y="1391"/>
                    <a:pt x="1182" y="1391"/>
                    <a:pt x="1182" y="1391"/>
                  </a:cubicBezTo>
                  <a:cubicBezTo>
                    <a:pt x="1023" y="1391"/>
                    <a:pt x="893" y="1520"/>
                    <a:pt x="893" y="1679"/>
                  </a:cubicBezTo>
                  <a:cubicBezTo>
                    <a:pt x="893" y="1838"/>
                    <a:pt x="1023" y="1967"/>
                    <a:pt x="1182" y="1967"/>
                  </a:cubicBezTo>
                  <a:cubicBezTo>
                    <a:pt x="2037" y="1967"/>
                    <a:pt x="2037" y="1967"/>
                    <a:pt x="2037" y="1967"/>
                  </a:cubicBezTo>
                  <a:cubicBezTo>
                    <a:pt x="2037" y="2154"/>
                    <a:pt x="2037" y="2154"/>
                    <a:pt x="2037" y="2154"/>
                  </a:cubicBezTo>
                  <a:cubicBezTo>
                    <a:pt x="2037" y="2230"/>
                    <a:pt x="1976" y="2292"/>
                    <a:pt x="1900" y="2294"/>
                  </a:cubicBezTo>
                  <a:cubicBezTo>
                    <a:pt x="317" y="2294"/>
                    <a:pt x="317" y="2294"/>
                    <a:pt x="317" y="2294"/>
                  </a:cubicBezTo>
                  <a:cubicBezTo>
                    <a:pt x="317" y="1770"/>
                    <a:pt x="317" y="1770"/>
                    <a:pt x="317" y="1770"/>
                  </a:cubicBezTo>
                  <a:cubicBezTo>
                    <a:pt x="317" y="1744"/>
                    <a:pt x="296" y="1723"/>
                    <a:pt x="270" y="1723"/>
                  </a:cubicBezTo>
                  <a:cubicBezTo>
                    <a:pt x="245" y="1723"/>
                    <a:pt x="224" y="1744"/>
                    <a:pt x="224" y="1770"/>
                  </a:cubicBezTo>
                  <a:cubicBezTo>
                    <a:pt x="224" y="2293"/>
                    <a:pt x="224" y="2293"/>
                    <a:pt x="224" y="2293"/>
                  </a:cubicBezTo>
                  <a:cubicBezTo>
                    <a:pt x="151" y="2288"/>
                    <a:pt x="93" y="2228"/>
                    <a:pt x="93" y="2154"/>
                  </a:cubicBezTo>
                  <a:cubicBezTo>
                    <a:pt x="93" y="1037"/>
                    <a:pt x="93" y="1037"/>
                    <a:pt x="93" y="1037"/>
                  </a:cubicBezTo>
                  <a:cubicBezTo>
                    <a:pt x="123" y="1055"/>
                    <a:pt x="158" y="1066"/>
                    <a:pt x="196" y="1066"/>
                  </a:cubicBezTo>
                  <a:cubicBezTo>
                    <a:pt x="1898" y="1066"/>
                    <a:pt x="1898" y="1066"/>
                    <a:pt x="1898" y="1066"/>
                  </a:cubicBezTo>
                  <a:cubicBezTo>
                    <a:pt x="1975" y="1066"/>
                    <a:pt x="2037" y="1128"/>
                    <a:pt x="2037" y="1205"/>
                  </a:cubicBezTo>
                  <a:cubicBezTo>
                    <a:pt x="2037" y="1391"/>
                    <a:pt x="2037" y="1391"/>
                    <a:pt x="2037" y="1391"/>
                  </a:cubicBezTo>
                  <a:cubicBezTo>
                    <a:pt x="1701" y="1391"/>
                    <a:pt x="1701" y="1391"/>
                    <a:pt x="1701" y="1391"/>
                  </a:cubicBezTo>
                  <a:cubicBezTo>
                    <a:pt x="1675" y="1391"/>
                    <a:pt x="1655" y="1411"/>
                    <a:pt x="1655" y="1437"/>
                  </a:cubicBezTo>
                  <a:cubicBezTo>
                    <a:pt x="1655" y="1463"/>
                    <a:pt x="1675" y="1484"/>
                    <a:pt x="1701" y="1484"/>
                  </a:cubicBezTo>
                  <a:cubicBezTo>
                    <a:pt x="2178" y="1484"/>
                    <a:pt x="2178" y="1484"/>
                    <a:pt x="2178" y="1484"/>
                  </a:cubicBezTo>
                  <a:cubicBezTo>
                    <a:pt x="2219" y="1484"/>
                    <a:pt x="2257" y="1472"/>
                    <a:pt x="2289" y="1451"/>
                  </a:cubicBezTo>
                  <a:cubicBezTo>
                    <a:pt x="2289" y="1744"/>
                    <a:pt x="2289" y="1744"/>
                    <a:pt x="2289" y="17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7" name="Freeform 27">
              <a:extLst>
                <a:ext uri="{FF2B5EF4-FFF2-40B4-BE49-F238E27FC236}">
                  <a16:creationId xmlns:a16="http://schemas.microsoft.com/office/drawing/2014/main" id="{D190AE6C-CF6C-AEDC-9A9E-3115BD657D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7900" y="5095875"/>
              <a:ext cx="30163" cy="30163"/>
            </a:xfrm>
            <a:custGeom>
              <a:avLst/>
              <a:gdLst>
                <a:gd name="T0" fmla="*/ 79 w 93"/>
                <a:gd name="T1" fmla="*/ 14 h 93"/>
                <a:gd name="T2" fmla="*/ 46 w 93"/>
                <a:gd name="T3" fmla="*/ 0 h 93"/>
                <a:gd name="T4" fmla="*/ 13 w 93"/>
                <a:gd name="T5" fmla="*/ 14 h 93"/>
                <a:gd name="T6" fmla="*/ 0 w 93"/>
                <a:gd name="T7" fmla="*/ 46 h 93"/>
                <a:gd name="T8" fmla="*/ 13 w 93"/>
                <a:gd name="T9" fmla="*/ 79 h 93"/>
                <a:gd name="T10" fmla="*/ 46 w 93"/>
                <a:gd name="T11" fmla="*/ 93 h 93"/>
                <a:gd name="T12" fmla="*/ 79 w 93"/>
                <a:gd name="T13" fmla="*/ 79 h 93"/>
                <a:gd name="T14" fmla="*/ 93 w 93"/>
                <a:gd name="T15" fmla="*/ 46 h 93"/>
                <a:gd name="T16" fmla="*/ 79 w 93"/>
                <a:gd name="T17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" h="93">
                  <a:moveTo>
                    <a:pt x="79" y="14"/>
                  </a:moveTo>
                  <a:cubicBezTo>
                    <a:pt x="70" y="5"/>
                    <a:pt x="58" y="0"/>
                    <a:pt x="46" y="0"/>
                  </a:cubicBezTo>
                  <a:cubicBezTo>
                    <a:pt x="34" y="0"/>
                    <a:pt x="22" y="5"/>
                    <a:pt x="13" y="14"/>
                  </a:cubicBezTo>
                  <a:cubicBezTo>
                    <a:pt x="5" y="22"/>
                    <a:pt x="0" y="34"/>
                    <a:pt x="0" y="46"/>
                  </a:cubicBezTo>
                  <a:cubicBezTo>
                    <a:pt x="0" y="59"/>
                    <a:pt x="5" y="71"/>
                    <a:pt x="13" y="79"/>
                  </a:cubicBezTo>
                  <a:cubicBezTo>
                    <a:pt x="22" y="88"/>
                    <a:pt x="34" y="93"/>
                    <a:pt x="46" y="93"/>
                  </a:cubicBezTo>
                  <a:cubicBezTo>
                    <a:pt x="58" y="93"/>
                    <a:pt x="70" y="88"/>
                    <a:pt x="79" y="79"/>
                  </a:cubicBezTo>
                  <a:cubicBezTo>
                    <a:pt x="88" y="71"/>
                    <a:pt x="93" y="59"/>
                    <a:pt x="93" y="46"/>
                  </a:cubicBezTo>
                  <a:cubicBezTo>
                    <a:pt x="93" y="34"/>
                    <a:pt x="88" y="22"/>
                    <a:pt x="79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8B9A9864-3D98-F25D-F8FB-74099ABC19DB}"/>
              </a:ext>
            </a:extLst>
          </p:cNvPr>
          <p:cNvGrpSpPr/>
          <p:nvPr/>
        </p:nvGrpSpPr>
        <p:grpSpPr>
          <a:xfrm>
            <a:off x="7156843" y="2539617"/>
            <a:ext cx="445867" cy="445803"/>
            <a:chOff x="-56745188" y="-7202488"/>
            <a:chExt cx="21274088" cy="21270914"/>
          </a:xfrm>
          <a:solidFill>
            <a:schemeClr val="bg1"/>
          </a:solidFill>
        </p:grpSpPr>
        <p:sp>
          <p:nvSpPr>
            <p:cNvPr id="89" name="Freeform 36">
              <a:extLst>
                <a:ext uri="{FF2B5EF4-FFF2-40B4-BE49-F238E27FC236}">
                  <a16:creationId xmlns:a16="http://schemas.microsoft.com/office/drawing/2014/main" id="{6955EBD8-92C5-EFCC-927C-EFB670FF7F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689713" y="2014538"/>
              <a:ext cx="9218613" cy="12053888"/>
            </a:xfrm>
            <a:custGeom>
              <a:avLst/>
              <a:gdLst>
                <a:gd name="T0" fmla="*/ 2173 w 2457"/>
                <a:gd name="T1" fmla="*/ 0 h 3213"/>
                <a:gd name="T2" fmla="*/ 283 w 2457"/>
                <a:gd name="T3" fmla="*/ 0 h 3213"/>
                <a:gd name="T4" fmla="*/ 0 w 2457"/>
                <a:gd name="T5" fmla="*/ 284 h 3213"/>
                <a:gd name="T6" fmla="*/ 0 w 2457"/>
                <a:gd name="T7" fmla="*/ 2929 h 3213"/>
                <a:gd name="T8" fmla="*/ 283 w 2457"/>
                <a:gd name="T9" fmla="*/ 3213 h 3213"/>
                <a:gd name="T10" fmla="*/ 2173 w 2457"/>
                <a:gd name="T11" fmla="*/ 3213 h 3213"/>
                <a:gd name="T12" fmla="*/ 2457 w 2457"/>
                <a:gd name="T13" fmla="*/ 2929 h 3213"/>
                <a:gd name="T14" fmla="*/ 2457 w 2457"/>
                <a:gd name="T15" fmla="*/ 284 h 3213"/>
                <a:gd name="T16" fmla="*/ 2173 w 2457"/>
                <a:gd name="T17" fmla="*/ 0 h 3213"/>
                <a:gd name="T18" fmla="*/ 1134 w 2457"/>
                <a:gd name="T19" fmla="*/ 3024 h 3213"/>
                <a:gd name="T20" fmla="*/ 283 w 2457"/>
                <a:gd name="T21" fmla="*/ 3024 h 3213"/>
                <a:gd name="T22" fmla="*/ 189 w 2457"/>
                <a:gd name="T23" fmla="*/ 2929 h 3213"/>
                <a:gd name="T24" fmla="*/ 189 w 2457"/>
                <a:gd name="T25" fmla="*/ 2268 h 3213"/>
                <a:gd name="T26" fmla="*/ 1134 w 2457"/>
                <a:gd name="T27" fmla="*/ 2268 h 3213"/>
                <a:gd name="T28" fmla="*/ 1134 w 2457"/>
                <a:gd name="T29" fmla="*/ 3024 h 3213"/>
                <a:gd name="T30" fmla="*/ 1134 w 2457"/>
                <a:gd name="T31" fmla="*/ 2079 h 3213"/>
                <a:gd name="T32" fmla="*/ 189 w 2457"/>
                <a:gd name="T33" fmla="*/ 2079 h 3213"/>
                <a:gd name="T34" fmla="*/ 189 w 2457"/>
                <a:gd name="T35" fmla="*/ 1323 h 3213"/>
                <a:gd name="T36" fmla="*/ 1134 w 2457"/>
                <a:gd name="T37" fmla="*/ 1323 h 3213"/>
                <a:gd name="T38" fmla="*/ 1134 w 2457"/>
                <a:gd name="T39" fmla="*/ 2079 h 3213"/>
                <a:gd name="T40" fmla="*/ 2268 w 2457"/>
                <a:gd name="T41" fmla="*/ 2929 h 3213"/>
                <a:gd name="T42" fmla="*/ 2173 w 2457"/>
                <a:gd name="T43" fmla="*/ 3024 h 3213"/>
                <a:gd name="T44" fmla="*/ 1323 w 2457"/>
                <a:gd name="T45" fmla="*/ 3024 h 3213"/>
                <a:gd name="T46" fmla="*/ 1323 w 2457"/>
                <a:gd name="T47" fmla="*/ 2268 h 3213"/>
                <a:gd name="T48" fmla="*/ 2268 w 2457"/>
                <a:gd name="T49" fmla="*/ 2268 h 3213"/>
                <a:gd name="T50" fmla="*/ 2268 w 2457"/>
                <a:gd name="T51" fmla="*/ 2929 h 3213"/>
                <a:gd name="T52" fmla="*/ 2268 w 2457"/>
                <a:gd name="T53" fmla="*/ 2079 h 3213"/>
                <a:gd name="T54" fmla="*/ 1323 w 2457"/>
                <a:gd name="T55" fmla="*/ 2079 h 3213"/>
                <a:gd name="T56" fmla="*/ 1323 w 2457"/>
                <a:gd name="T57" fmla="*/ 1323 h 3213"/>
                <a:gd name="T58" fmla="*/ 2268 w 2457"/>
                <a:gd name="T59" fmla="*/ 1323 h 3213"/>
                <a:gd name="T60" fmla="*/ 2268 w 2457"/>
                <a:gd name="T61" fmla="*/ 2079 h 3213"/>
                <a:gd name="T62" fmla="*/ 2268 w 2457"/>
                <a:gd name="T63" fmla="*/ 1134 h 3213"/>
                <a:gd name="T64" fmla="*/ 189 w 2457"/>
                <a:gd name="T65" fmla="*/ 1134 h 3213"/>
                <a:gd name="T66" fmla="*/ 189 w 2457"/>
                <a:gd name="T67" fmla="*/ 284 h 3213"/>
                <a:gd name="T68" fmla="*/ 283 w 2457"/>
                <a:gd name="T69" fmla="*/ 189 h 3213"/>
                <a:gd name="T70" fmla="*/ 2173 w 2457"/>
                <a:gd name="T71" fmla="*/ 189 h 3213"/>
                <a:gd name="T72" fmla="*/ 2268 w 2457"/>
                <a:gd name="T73" fmla="*/ 284 h 3213"/>
                <a:gd name="T74" fmla="*/ 2268 w 2457"/>
                <a:gd name="T75" fmla="*/ 1134 h 3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57" h="3213">
                  <a:moveTo>
                    <a:pt x="2173" y="0"/>
                  </a:moveTo>
                  <a:cubicBezTo>
                    <a:pt x="283" y="0"/>
                    <a:pt x="283" y="0"/>
                    <a:pt x="283" y="0"/>
                  </a:cubicBezTo>
                  <a:cubicBezTo>
                    <a:pt x="127" y="0"/>
                    <a:pt x="0" y="127"/>
                    <a:pt x="0" y="284"/>
                  </a:cubicBezTo>
                  <a:cubicBezTo>
                    <a:pt x="0" y="2929"/>
                    <a:pt x="0" y="2929"/>
                    <a:pt x="0" y="2929"/>
                  </a:cubicBezTo>
                  <a:cubicBezTo>
                    <a:pt x="0" y="3086"/>
                    <a:pt x="127" y="3213"/>
                    <a:pt x="283" y="3213"/>
                  </a:cubicBezTo>
                  <a:cubicBezTo>
                    <a:pt x="2173" y="3213"/>
                    <a:pt x="2173" y="3213"/>
                    <a:pt x="2173" y="3213"/>
                  </a:cubicBezTo>
                  <a:cubicBezTo>
                    <a:pt x="2330" y="3213"/>
                    <a:pt x="2457" y="3086"/>
                    <a:pt x="2457" y="2929"/>
                  </a:cubicBezTo>
                  <a:cubicBezTo>
                    <a:pt x="2457" y="284"/>
                    <a:pt x="2457" y="284"/>
                    <a:pt x="2457" y="284"/>
                  </a:cubicBezTo>
                  <a:cubicBezTo>
                    <a:pt x="2457" y="127"/>
                    <a:pt x="2330" y="0"/>
                    <a:pt x="2173" y="0"/>
                  </a:cubicBezTo>
                  <a:close/>
                  <a:moveTo>
                    <a:pt x="1134" y="3024"/>
                  </a:moveTo>
                  <a:cubicBezTo>
                    <a:pt x="283" y="3024"/>
                    <a:pt x="283" y="3024"/>
                    <a:pt x="283" y="3024"/>
                  </a:cubicBezTo>
                  <a:cubicBezTo>
                    <a:pt x="231" y="3024"/>
                    <a:pt x="189" y="2981"/>
                    <a:pt x="189" y="2929"/>
                  </a:cubicBezTo>
                  <a:cubicBezTo>
                    <a:pt x="189" y="2268"/>
                    <a:pt x="189" y="2268"/>
                    <a:pt x="189" y="2268"/>
                  </a:cubicBezTo>
                  <a:cubicBezTo>
                    <a:pt x="1134" y="2268"/>
                    <a:pt x="1134" y="2268"/>
                    <a:pt x="1134" y="2268"/>
                  </a:cubicBezTo>
                  <a:lnTo>
                    <a:pt x="1134" y="3024"/>
                  </a:lnTo>
                  <a:close/>
                  <a:moveTo>
                    <a:pt x="1134" y="2079"/>
                  </a:moveTo>
                  <a:cubicBezTo>
                    <a:pt x="189" y="2079"/>
                    <a:pt x="189" y="2079"/>
                    <a:pt x="189" y="2079"/>
                  </a:cubicBezTo>
                  <a:cubicBezTo>
                    <a:pt x="189" y="1323"/>
                    <a:pt x="189" y="1323"/>
                    <a:pt x="189" y="1323"/>
                  </a:cubicBezTo>
                  <a:cubicBezTo>
                    <a:pt x="1134" y="1323"/>
                    <a:pt x="1134" y="1323"/>
                    <a:pt x="1134" y="1323"/>
                  </a:cubicBezTo>
                  <a:lnTo>
                    <a:pt x="1134" y="2079"/>
                  </a:lnTo>
                  <a:close/>
                  <a:moveTo>
                    <a:pt x="2268" y="2929"/>
                  </a:moveTo>
                  <a:cubicBezTo>
                    <a:pt x="2268" y="2981"/>
                    <a:pt x="2225" y="3024"/>
                    <a:pt x="2173" y="3024"/>
                  </a:cubicBezTo>
                  <a:cubicBezTo>
                    <a:pt x="1323" y="3024"/>
                    <a:pt x="1323" y="3024"/>
                    <a:pt x="1323" y="3024"/>
                  </a:cubicBezTo>
                  <a:cubicBezTo>
                    <a:pt x="1323" y="2268"/>
                    <a:pt x="1323" y="2268"/>
                    <a:pt x="1323" y="2268"/>
                  </a:cubicBezTo>
                  <a:cubicBezTo>
                    <a:pt x="2268" y="2268"/>
                    <a:pt x="2268" y="2268"/>
                    <a:pt x="2268" y="2268"/>
                  </a:cubicBezTo>
                  <a:lnTo>
                    <a:pt x="2268" y="2929"/>
                  </a:lnTo>
                  <a:close/>
                  <a:moveTo>
                    <a:pt x="2268" y="2079"/>
                  </a:moveTo>
                  <a:cubicBezTo>
                    <a:pt x="1323" y="2079"/>
                    <a:pt x="1323" y="2079"/>
                    <a:pt x="1323" y="2079"/>
                  </a:cubicBezTo>
                  <a:cubicBezTo>
                    <a:pt x="1323" y="1323"/>
                    <a:pt x="1323" y="1323"/>
                    <a:pt x="1323" y="1323"/>
                  </a:cubicBezTo>
                  <a:cubicBezTo>
                    <a:pt x="2268" y="1323"/>
                    <a:pt x="2268" y="1323"/>
                    <a:pt x="2268" y="1323"/>
                  </a:cubicBezTo>
                  <a:lnTo>
                    <a:pt x="2268" y="2079"/>
                  </a:lnTo>
                  <a:close/>
                  <a:moveTo>
                    <a:pt x="2268" y="1134"/>
                  </a:moveTo>
                  <a:cubicBezTo>
                    <a:pt x="189" y="1134"/>
                    <a:pt x="189" y="1134"/>
                    <a:pt x="189" y="1134"/>
                  </a:cubicBezTo>
                  <a:cubicBezTo>
                    <a:pt x="189" y="284"/>
                    <a:pt x="189" y="284"/>
                    <a:pt x="189" y="284"/>
                  </a:cubicBezTo>
                  <a:cubicBezTo>
                    <a:pt x="189" y="231"/>
                    <a:pt x="231" y="189"/>
                    <a:pt x="283" y="189"/>
                  </a:cubicBezTo>
                  <a:cubicBezTo>
                    <a:pt x="2173" y="189"/>
                    <a:pt x="2173" y="189"/>
                    <a:pt x="2173" y="189"/>
                  </a:cubicBezTo>
                  <a:cubicBezTo>
                    <a:pt x="2225" y="189"/>
                    <a:pt x="2268" y="231"/>
                    <a:pt x="2268" y="284"/>
                  </a:cubicBezTo>
                  <a:lnTo>
                    <a:pt x="2268" y="1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0" name="Freeform 37">
              <a:extLst>
                <a:ext uri="{FF2B5EF4-FFF2-40B4-BE49-F238E27FC236}">
                  <a16:creationId xmlns:a16="http://schemas.microsoft.com/office/drawing/2014/main" id="{E1FC806B-F305-FDD4-B0D9-61760FCC36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3272075" y="3432175"/>
              <a:ext cx="6381750" cy="2127250"/>
            </a:xfrm>
            <a:custGeom>
              <a:avLst/>
              <a:gdLst>
                <a:gd name="T0" fmla="*/ 1606 w 1701"/>
                <a:gd name="T1" fmla="*/ 0 h 567"/>
                <a:gd name="T2" fmla="*/ 94 w 1701"/>
                <a:gd name="T3" fmla="*/ 0 h 567"/>
                <a:gd name="T4" fmla="*/ 0 w 1701"/>
                <a:gd name="T5" fmla="*/ 94 h 567"/>
                <a:gd name="T6" fmla="*/ 0 w 1701"/>
                <a:gd name="T7" fmla="*/ 472 h 567"/>
                <a:gd name="T8" fmla="*/ 94 w 1701"/>
                <a:gd name="T9" fmla="*/ 567 h 567"/>
                <a:gd name="T10" fmla="*/ 1606 w 1701"/>
                <a:gd name="T11" fmla="*/ 567 h 567"/>
                <a:gd name="T12" fmla="*/ 1701 w 1701"/>
                <a:gd name="T13" fmla="*/ 472 h 567"/>
                <a:gd name="T14" fmla="*/ 1701 w 1701"/>
                <a:gd name="T15" fmla="*/ 94 h 567"/>
                <a:gd name="T16" fmla="*/ 1606 w 1701"/>
                <a:gd name="T17" fmla="*/ 0 h 567"/>
                <a:gd name="T18" fmla="*/ 1512 w 1701"/>
                <a:gd name="T19" fmla="*/ 378 h 567"/>
                <a:gd name="T20" fmla="*/ 189 w 1701"/>
                <a:gd name="T21" fmla="*/ 378 h 567"/>
                <a:gd name="T22" fmla="*/ 189 w 1701"/>
                <a:gd name="T23" fmla="*/ 189 h 567"/>
                <a:gd name="T24" fmla="*/ 1512 w 1701"/>
                <a:gd name="T25" fmla="*/ 189 h 567"/>
                <a:gd name="T26" fmla="*/ 1512 w 1701"/>
                <a:gd name="T27" fmla="*/ 378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01" h="567">
                  <a:moveTo>
                    <a:pt x="1606" y="0"/>
                  </a:moveTo>
                  <a:cubicBezTo>
                    <a:pt x="94" y="0"/>
                    <a:pt x="94" y="0"/>
                    <a:pt x="94" y="0"/>
                  </a:cubicBezTo>
                  <a:cubicBezTo>
                    <a:pt x="42" y="0"/>
                    <a:pt x="0" y="42"/>
                    <a:pt x="0" y="94"/>
                  </a:cubicBezTo>
                  <a:cubicBezTo>
                    <a:pt x="0" y="472"/>
                    <a:pt x="0" y="472"/>
                    <a:pt x="0" y="472"/>
                  </a:cubicBezTo>
                  <a:cubicBezTo>
                    <a:pt x="0" y="525"/>
                    <a:pt x="42" y="567"/>
                    <a:pt x="94" y="567"/>
                  </a:cubicBezTo>
                  <a:cubicBezTo>
                    <a:pt x="1606" y="567"/>
                    <a:pt x="1606" y="567"/>
                    <a:pt x="1606" y="567"/>
                  </a:cubicBezTo>
                  <a:cubicBezTo>
                    <a:pt x="1658" y="567"/>
                    <a:pt x="1701" y="525"/>
                    <a:pt x="1701" y="472"/>
                  </a:cubicBezTo>
                  <a:cubicBezTo>
                    <a:pt x="1701" y="94"/>
                    <a:pt x="1701" y="94"/>
                    <a:pt x="1701" y="94"/>
                  </a:cubicBezTo>
                  <a:cubicBezTo>
                    <a:pt x="1701" y="42"/>
                    <a:pt x="1658" y="0"/>
                    <a:pt x="1606" y="0"/>
                  </a:cubicBezTo>
                  <a:close/>
                  <a:moveTo>
                    <a:pt x="1512" y="378"/>
                  </a:moveTo>
                  <a:cubicBezTo>
                    <a:pt x="189" y="378"/>
                    <a:pt x="189" y="378"/>
                    <a:pt x="189" y="378"/>
                  </a:cubicBezTo>
                  <a:cubicBezTo>
                    <a:pt x="189" y="189"/>
                    <a:pt x="189" y="189"/>
                    <a:pt x="189" y="189"/>
                  </a:cubicBezTo>
                  <a:cubicBezTo>
                    <a:pt x="1512" y="189"/>
                    <a:pt x="1512" y="189"/>
                    <a:pt x="1512" y="189"/>
                  </a:cubicBezTo>
                  <a:lnTo>
                    <a:pt x="1512" y="3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1" name="Freeform 38">
              <a:extLst>
                <a:ext uri="{FF2B5EF4-FFF2-40B4-BE49-F238E27FC236}">
                  <a16:creationId xmlns:a16="http://schemas.microsoft.com/office/drawing/2014/main" id="{BF032936-D164-5060-4C7A-5D09DD2F1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272075" y="7331075"/>
              <a:ext cx="2127250" cy="2127250"/>
            </a:xfrm>
            <a:custGeom>
              <a:avLst/>
              <a:gdLst>
                <a:gd name="T0" fmla="*/ 893 w 1340"/>
                <a:gd name="T1" fmla="*/ 447 h 1340"/>
                <a:gd name="T2" fmla="*/ 893 w 1340"/>
                <a:gd name="T3" fmla="*/ 0 h 1340"/>
                <a:gd name="T4" fmla="*/ 447 w 1340"/>
                <a:gd name="T5" fmla="*/ 0 h 1340"/>
                <a:gd name="T6" fmla="*/ 447 w 1340"/>
                <a:gd name="T7" fmla="*/ 447 h 1340"/>
                <a:gd name="T8" fmla="*/ 0 w 1340"/>
                <a:gd name="T9" fmla="*/ 447 h 1340"/>
                <a:gd name="T10" fmla="*/ 0 w 1340"/>
                <a:gd name="T11" fmla="*/ 893 h 1340"/>
                <a:gd name="T12" fmla="*/ 447 w 1340"/>
                <a:gd name="T13" fmla="*/ 893 h 1340"/>
                <a:gd name="T14" fmla="*/ 447 w 1340"/>
                <a:gd name="T15" fmla="*/ 1340 h 1340"/>
                <a:gd name="T16" fmla="*/ 893 w 1340"/>
                <a:gd name="T17" fmla="*/ 1340 h 1340"/>
                <a:gd name="T18" fmla="*/ 893 w 1340"/>
                <a:gd name="T19" fmla="*/ 893 h 1340"/>
                <a:gd name="T20" fmla="*/ 1340 w 1340"/>
                <a:gd name="T21" fmla="*/ 893 h 1340"/>
                <a:gd name="T22" fmla="*/ 1340 w 1340"/>
                <a:gd name="T23" fmla="*/ 447 h 1340"/>
                <a:gd name="T24" fmla="*/ 893 w 1340"/>
                <a:gd name="T25" fmla="*/ 447 h 1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0" h="1340">
                  <a:moveTo>
                    <a:pt x="893" y="447"/>
                  </a:moveTo>
                  <a:lnTo>
                    <a:pt x="893" y="0"/>
                  </a:lnTo>
                  <a:lnTo>
                    <a:pt x="447" y="0"/>
                  </a:lnTo>
                  <a:lnTo>
                    <a:pt x="447" y="447"/>
                  </a:lnTo>
                  <a:lnTo>
                    <a:pt x="0" y="447"/>
                  </a:lnTo>
                  <a:lnTo>
                    <a:pt x="0" y="893"/>
                  </a:lnTo>
                  <a:lnTo>
                    <a:pt x="447" y="893"/>
                  </a:lnTo>
                  <a:lnTo>
                    <a:pt x="447" y="1340"/>
                  </a:lnTo>
                  <a:lnTo>
                    <a:pt x="893" y="1340"/>
                  </a:lnTo>
                  <a:lnTo>
                    <a:pt x="893" y="893"/>
                  </a:lnTo>
                  <a:lnTo>
                    <a:pt x="1340" y="893"/>
                  </a:lnTo>
                  <a:lnTo>
                    <a:pt x="1340" y="447"/>
                  </a:lnTo>
                  <a:lnTo>
                    <a:pt x="893" y="4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2" name="Rectangle 39">
              <a:extLst>
                <a:ext uri="{FF2B5EF4-FFF2-40B4-BE49-F238E27FC236}">
                  <a16:creationId xmlns:a16="http://schemas.microsoft.com/office/drawing/2014/main" id="{C70AE873-5B03-C849-71CE-A3DCFF18A2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9017575" y="8040688"/>
              <a:ext cx="2127250" cy="7080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3" name="Freeform 40">
              <a:extLst>
                <a:ext uri="{FF2B5EF4-FFF2-40B4-BE49-F238E27FC236}">
                  <a16:creationId xmlns:a16="http://schemas.microsoft.com/office/drawing/2014/main" id="{F54A9A64-BABA-2C36-D644-797160587B8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211750" y="10980738"/>
              <a:ext cx="2006600" cy="2003425"/>
            </a:xfrm>
            <a:custGeom>
              <a:avLst/>
              <a:gdLst>
                <a:gd name="T0" fmla="*/ 1264 w 1264"/>
                <a:gd name="T1" fmla="*/ 317 h 1262"/>
                <a:gd name="T2" fmla="*/ 947 w 1264"/>
                <a:gd name="T3" fmla="*/ 0 h 1262"/>
                <a:gd name="T4" fmla="*/ 631 w 1264"/>
                <a:gd name="T5" fmla="*/ 317 h 1262"/>
                <a:gd name="T6" fmla="*/ 316 w 1264"/>
                <a:gd name="T7" fmla="*/ 0 h 1262"/>
                <a:gd name="T8" fmla="*/ 0 w 1264"/>
                <a:gd name="T9" fmla="*/ 317 h 1262"/>
                <a:gd name="T10" fmla="*/ 316 w 1264"/>
                <a:gd name="T11" fmla="*/ 631 h 1262"/>
                <a:gd name="T12" fmla="*/ 0 w 1264"/>
                <a:gd name="T13" fmla="*/ 948 h 1262"/>
                <a:gd name="T14" fmla="*/ 316 w 1264"/>
                <a:gd name="T15" fmla="*/ 1262 h 1262"/>
                <a:gd name="T16" fmla="*/ 631 w 1264"/>
                <a:gd name="T17" fmla="*/ 948 h 1262"/>
                <a:gd name="T18" fmla="*/ 947 w 1264"/>
                <a:gd name="T19" fmla="*/ 1262 h 1262"/>
                <a:gd name="T20" fmla="*/ 1264 w 1264"/>
                <a:gd name="T21" fmla="*/ 948 h 1262"/>
                <a:gd name="T22" fmla="*/ 947 w 1264"/>
                <a:gd name="T23" fmla="*/ 631 h 1262"/>
                <a:gd name="T24" fmla="*/ 1264 w 1264"/>
                <a:gd name="T25" fmla="*/ 317 h 1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64" h="1262">
                  <a:moveTo>
                    <a:pt x="1264" y="317"/>
                  </a:moveTo>
                  <a:lnTo>
                    <a:pt x="947" y="0"/>
                  </a:lnTo>
                  <a:lnTo>
                    <a:pt x="631" y="317"/>
                  </a:lnTo>
                  <a:lnTo>
                    <a:pt x="316" y="0"/>
                  </a:lnTo>
                  <a:lnTo>
                    <a:pt x="0" y="317"/>
                  </a:lnTo>
                  <a:lnTo>
                    <a:pt x="316" y="631"/>
                  </a:lnTo>
                  <a:lnTo>
                    <a:pt x="0" y="948"/>
                  </a:lnTo>
                  <a:lnTo>
                    <a:pt x="316" y="1262"/>
                  </a:lnTo>
                  <a:lnTo>
                    <a:pt x="631" y="948"/>
                  </a:lnTo>
                  <a:lnTo>
                    <a:pt x="947" y="1262"/>
                  </a:lnTo>
                  <a:lnTo>
                    <a:pt x="1264" y="948"/>
                  </a:lnTo>
                  <a:lnTo>
                    <a:pt x="947" y="631"/>
                  </a:lnTo>
                  <a:lnTo>
                    <a:pt x="1264" y="3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4" name="Rectangle 41">
              <a:extLst>
                <a:ext uri="{FF2B5EF4-FFF2-40B4-BE49-F238E27FC236}">
                  <a16:creationId xmlns:a16="http://schemas.microsoft.com/office/drawing/2014/main" id="{493359B4-4EBC-E0B7-3B88-FB131D584D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9017575" y="11585575"/>
              <a:ext cx="2127250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5" name="Rectangle 42">
              <a:extLst>
                <a:ext uri="{FF2B5EF4-FFF2-40B4-BE49-F238E27FC236}">
                  <a16:creationId xmlns:a16="http://schemas.microsoft.com/office/drawing/2014/main" id="{F74607AE-B27D-68CE-C937-D66345DC65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8307963" y="12471400"/>
              <a:ext cx="708025" cy="355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6" name="Rectangle 43">
              <a:extLst>
                <a:ext uri="{FF2B5EF4-FFF2-40B4-BE49-F238E27FC236}">
                  <a16:creationId xmlns:a16="http://schemas.microsoft.com/office/drawing/2014/main" id="{7B7E8482-1C45-2F16-7443-02CA6A3E45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8307963" y="11052175"/>
              <a:ext cx="708025" cy="3571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7" name="Freeform 44">
              <a:extLst>
                <a:ext uri="{FF2B5EF4-FFF2-40B4-BE49-F238E27FC236}">
                  <a16:creationId xmlns:a16="http://schemas.microsoft.com/office/drawing/2014/main" id="{944A8A0B-7A4F-03C6-08CD-59990C4B11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745188" y="-7202488"/>
              <a:ext cx="14890750" cy="21270913"/>
            </a:xfrm>
            <a:custGeom>
              <a:avLst/>
              <a:gdLst>
                <a:gd name="T0" fmla="*/ 1040 w 3969"/>
                <a:gd name="T1" fmla="*/ 0 h 5670"/>
                <a:gd name="T2" fmla="*/ 973 w 3969"/>
                <a:gd name="T3" fmla="*/ 28 h 5670"/>
                <a:gd name="T4" fmla="*/ 1 w 3969"/>
                <a:gd name="T5" fmla="*/ 1040 h 5670"/>
                <a:gd name="T6" fmla="*/ 0 w 3969"/>
                <a:gd name="T7" fmla="*/ 5481 h 5670"/>
                <a:gd name="T8" fmla="*/ 3024 w 3969"/>
                <a:gd name="T9" fmla="*/ 5670 h 5670"/>
                <a:gd name="T10" fmla="*/ 2457 w 3969"/>
                <a:gd name="T11" fmla="*/ 5481 h 5670"/>
                <a:gd name="T12" fmla="*/ 2646 w 3969"/>
                <a:gd name="T13" fmla="*/ 5197 h 5670"/>
                <a:gd name="T14" fmla="*/ 2741 w 3969"/>
                <a:gd name="T15" fmla="*/ 4630 h 5670"/>
                <a:gd name="T16" fmla="*/ 2457 w 3969"/>
                <a:gd name="T17" fmla="*/ 4536 h 5670"/>
                <a:gd name="T18" fmla="*/ 2646 w 3969"/>
                <a:gd name="T19" fmla="*/ 4252 h 5670"/>
                <a:gd name="T20" fmla="*/ 2741 w 3969"/>
                <a:gd name="T21" fmla="*/ 3685 h 5670"/>
                <a:gd name="T22" fmla="*/ 2644 w 3969"/>
                <a:gd name="T23" fmla="*/ 3591 h 5670"/>
                <a:gd name="T24" fmla="*/ 2081 w 3969"/>
                <a:gd name="T25" fmla="*/ 1888 h 5670"/>
                <a:gd name="T26" fmla="*/ 1515 w 3969"/>
                <a:gd name="T27" fmla="*/ 3591 h 5670"/>
                <a:gd name="T28" fmla="*/ 662 w 3969"/>
                <a:gd name="T29" fmla="*/ 3685 h 5670"/>
                <a:gd name="T30" fmla="*/ 473 w 3969"/>
                <a:gd name="T31" fmla="*/ 4063 h 5670"/>
                <a:gd name="T32" fmla="*/ 378 w 3969"/>
                <a:gd name="T33" fmla="*/ 4630 h 5670"/>
                <a:gd name="T34" fmla="*/ 662 w 3969"/>
                <a:gd name="T35" fmla="*/ 4725 h 5670"/>
                <a:gd name="T36" fmla="*/ 473 w 3969"/>
                <a:gd name="T37" fmla="*/ 5008 h 5670"/>
                <a:gd name="T38" fmla="*/ 378 w 3969"/>
                <a:gd name="T39" fmla="*/ 5481 h 5670"/>
                <a:gd name="T40" fmla="*/ 189 w 3969"/>
                <a:gd name="T41" fmla="*/ 1134 h 5670"/>
                <a:gd name="T42" fmla="*/ 1134 w 3969"/>
                <a:gd name="T43" fmla="*/ 945 h 5670"/>
                <a:gd name="T44" fmla="*/ 3780 w 3969"/>
                <a:gd name="T45" fmla="*/ 189 h 5670"/>
                <a:gd name="T46" fmla="*/ 3969 w 3969"/>
                <a:gd name="T47" fmla="*/ 2268 h 5670"/>
                <a:gd name="T48" fmla="*/ 3780 w 3969"/>
                <a:gd name="T49" fmla="*/ 0 h 5670"/>
                <a:gd name="T50" fmla="*/ 2552 w 3969"/>
                <a:gd name="T51" fmla="*/ 5008 h 5670"/>
                <a:gd name="T52" fmla="*/ 851 w 3969"/>
                <a:gd name="T53" fmla="*/ 4725 h 5670"/>
                <a:gd name="T54" fmla="*/ 1323 w 3969"/>
                <a:gd name="T55" fmla="*/ 2835 h 5670"/>
                <a:gd name="T56" fmla="*/ 2835 w 3969"/>
                <a:gd name="T57" fmla="*/ 2835 h 5670"/>
                <a:gd name="T58" fmla="*/ 1323 w 3969"/>
                <a:gd name="T59" fmla="*/ 2835 h 5670"/>
                <a:gd name="T60" fmla="*/ 2552 w 3969"/>
                <a:gd name="T61" fmla="*/ 3780 h 5670"/>
                <a:gd name="T62" fmla="*/ 851 w 3969"/>
                <a:gd name="T63" fmla="*/ 4063 h 5670"/>
                <a:gd name="T64" fmla="*/ 567 w 3969"/>
                <a:gd name="T65" fmla="*/ 4536 h 5670"/>
                <a:gd name="T66" fmla="*/ 2268 w 3969"/>
                <a:gd name="T67" fmla="*/ 4252 h 5670"/>
                <a:gd name="T68" fmla="*/ 756 w 3969"/>
                <a:gd name="T69" fmla="*/ 4536 h 5670"/>
                <a:gd name="T70" fmla="*/ 567 w 3969"/>
                <a:gd name="T71" fmla="*/ 5197 h 5670"/>
                <a:gd name="T72" fmla="*/ 2268 w 3969"/>
                <a:gd name="T73" fmla="*/ 5481 h 5670"/>
                <a:gd name="T74" fmla="*/ 567 w 3969"/>
                <a:gd name="T75" fmla="*/ 5197 h 5670"/>
                <a:gd name="T76" fmla="*/ 323 w 3969"/>
                <a:gd name="T77" fmla="*/ 945 h 5670"/>
                <a:gd name="T78" fmla="*/ 945 w 3969"/>
                <a:gd name="T79" fmla="*/ 945 h 5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969" h="5670">
                  <a:moveTo>
                    <a:pt x="3780" y="0"/>
                  </a:moveTo>
                  <a:cubicBezTo>
                    <a:pt x="1040" y="0"/>
                    <a:pt x="1040" y="0"/>
                    <a:pt x="1040" y="0"/>
                  </a:cubicBezTo>
                  <a:cubicBezTo>
                    <a:pt x="1040" y="1"/>
                    <a:pt x="1040" y="1"/>
                    <a:pt x="1040" y="1"/>
                  </a:cubicBezTo>
                  <a:cubicBezTo>
                    <a:pt x="1015" y="1"/>
                    <a:pt x="991" y="11"/>
                    <a:pt x="973" y="28"/>
                  </a:cubicBezTo>
                  <a:cubicBezTo>
                    <a:pt x="28" y="973"/>
                    <a:pt x="28" y="973"/>
                    <a:pt x="28" y="973"/>
                  </a:cubicBezTo>
                  <a:cubicBezTo>
                    <a:pt x="11" y="991"/>
                    <a:pt x="1" y="1015"/>
                    <a:pt x="1" y="1040"/>
                  </a:cubicBezTo>
                  <a:cubicBezTo>
                    <a:pt x="0" y="1040"/>
                    <a:pt x="0" y="1040"/>
                    <a:pt x="0" y="1040"/>
                  </a:cubicBezTo>
                  <a:cubicBezTo>
                    <a:pt x="0" y="5481"/>
                    <a:pt x="0" y="5481"/>
                    <a:pt x="0" y="5481"/>
                  </a:cubicBezTo>
                  <a:cubicBezTo>
                    <a:pt x="0" y="5585"/>
                    <a:pt x="85" y="5670"/>
                    <a:pt x="189" y="5670"/>
                  </a:cubicBezTo>
                  <a:cubicBezTo>
                    <a:pt x="3024" y="5670"/>
                    <a:pt x="3024" y="5670"/>
                    <a:pt x="3024" y="5670"/>
                  </a:cubicBezTo>
                  <a:cubicBezTo>
                    <a:pt x="3024" y="5481"/>
                    <a:pt x="3024" y="5481"/>
                    <a:pt x="3024" y="5481"/>
                  </a:cubicBezTo>
                  <a:cubicBezTo>
                    <a:pt x="2457" y="5481"/>
                    <a:pt x="2457" y="5481"/>
                    <a:pt x="2457" y="5481"/>
                  </a:cubicBezTo>
                  <a:cubicBezTo>
                    <a:pt x="2457" y="5197"/>
                    <a:pt x="2457" y="5197"/>
                    <a:pt x="2457" y="5197"/>
                  </a:cubicBezTo>
                  <a:cubicBezTo>
                    <a:pt x="2646" y="5197"/>
                    <a:pt x="2646" y="5197"/>
                    <a:pt x="2646" y="5197"/>
                  </a:cubicBezTo>
                  <a:cubicBezTo>
                    <a:pt x="2698" y="5197"/>
                    <a:pt x="2741" y="5155"/>
                    <a:pt x="2741" y="5103"/>
                  </a:cubicBezTo>
                  <a:cubicBezTo>
                    <a:pt x="2741" y="4630"/>
                    <a:pt x="2741" y="4630"/>
                    <a:pt x="2741" y="4630"/>
                  </a:cubicBezTo>
                  <a:cubicBezTo>
                    <a:pt x="2741" y="4578"/>
                    <a:pt x="2698" y="4536"/>
                    <a:pt x="2646" y="4536"/>
                  </a:cubicBezTo>
                  <a:cubicBezTo>
                    <a:pt x="2457" y="4536"/>
                    <a:pt x="2457" y="4536"/>
                    <a:pt x="2457" y="4536"/>
                  </a:cubicBezTo>
                  <a:cubicBezTo>
                    <a:pt x="2457" y="4252"/>
                    <a:pt x="2457" y="4252"/>
                    <a:pt x="2457" y="4252"/>
                  </a:cubicBezTo>
                  <a:cubicBezTo>
                    <a:pt x="2646" y="4252"/>
                    <a:pt x="2646" y="4252"/>
                    <a:pt x="2646" y="4252"/>
                  </a:cubicBezTo>
                  <a:cubicBezTo>
                    <a:pt x="2698" y="4252"/>
                    <a:pt x="2741" y="4210"/>
                    <a:pt x="2741" y="4158"/>
                  </a:cubicBezTo>
                  <a:cubicBezTo>
                    <a:pt x="2741" y="3685"/>
                    <a:pt x="2741" y="3685"/>
                    <a:pt x="2741" y="3685"/>
                  </a:cubicBezTo>
                  <a:cubicBezTo>
                    <a:pt x="2741" y="3633"/>
                    <a:pt x="2698" y="3591"/>
                    <a:pt x="2646" y="3591"/>
                  </a:cubicBezTo>
                  <a:cubicBezTo>
                    <a:pt x="2644" y="3591"/>
                    <a:pt x="2644" y="3591"/>
                    <a:pt x="2644" y="3591"/>
                  </a:cubicBezTo>
                  <a:cubicBezTo>
                    <a:pt x="2883" y="3413"/>
                    <a:pt x="3024" y="3133"/>
                    <a:pt x="3024" y="2835"/>
                  </a:cubicBezTo>
                  <a:cubicBezTo>
                    <a:pt x="3025" y="2313"/>
                    <a:pt x="2603" y="1889"/>
                    <a:pt x="2081" y="1888"/>
                  </a:cubicBezTo>
                  <a:cubicBezTo>
                    <a:pt x="1559" y="1887"/>
                    <a:pt x="1135" y="2309"/>
                    <a:pt x="1134" y="2831"/>
                  </a:cubicBezTo>
                  <a:cubicBezTo>
                    <a:pt x="1134" y="3130"/>
                    <a:pt x="1275" y="3412"/>
                    <a:pt x="1515" y="3591"/>
                  </a:cubicBezTo>
                  <a:cubicBezTo>
                    <a:pt x="756" y="3591"/>
                    <a:pt x="756" y="3591"/>
                    <a:pt x="756" y="3591"/>
                  </a:cubicBezTo>
                  <a:cubicBezTo>
                    <a:pt x="704" y="3591"/>
                    <a:pt x="662" y="3633"/>
                    <a:pt x="662" y="3685"/>
                  </a:cubicBezTo>
                  <a:cubicBezTo>
                    <a:pt x="662" y="4063"/>
                    <a:pt x="662" y="4063"/>
                    <a:pt x="662" y="4063"/>
                  </a:cubicBezTo>
                  <a:cubicBezTo>
                    <a:pt x="473" y="4063"/>
                    <a:pt x="473" y="4063"/>
                    <a:pt x="473" y="4063"/>
                  </a:cubicBezTo>
                  <a:cubicBezTo>
                    <a:pt x="421" y="4063"/>
                    <a:pt x="378" y="4106"/>
                    <a:pt x="378" y="4158"/>
                  </a:cubicBezTo>
                  <a:cubicBezTo>
                    <a:pt x="378" y="4630"/>
                    <a:pt x="378" y="4630"/>
                    <a:pt x="378" y="4630"/>
                  </a:cubicBezTo>
                  <a:cubicBezTo>
                    <a:pt x="378" y="4682"/>
                    <a:pt x="421" y="4725"/>
                    <a:pt x="473" y="4725"/>
                  </a:cubicBezTo>
                  <a:cubicBezTo>
                    <a:pt x="662" y="4725"/>
                    <a:pt x="662" y="4725"/>
                    <a:pt x="662" y="4725"/>
                  </a:cubicBezTo>
                  <a:cubicBezTo>
                    <a:pt x="662" y="5008"/>
                    <a:pt x="662" y="5008"/>
                    <a:pt x="662" y="5008"/>
                  </a:cubicBezTo>
                  <a:cubicBezTo>
                    <a:pt x="473" y="5008"/>
                    <a:pt x="473" y="5008"/>
                    <a:pt x="473" y="5008"/>
                  </a:cubicBezTo>
                  <a:cubicBezTo>
                    <a:pt x="421" y="5008"/>
                    <a:pt x="378" y="5051"/>
                    <a:pt x="378" y="5103"/>
                  </a:cubicBezTo>
                  <a:cubicBezTo>
                    <a:pt x="378" y="5481"/>
                    <a:pt x="378" y="5481"/>
                    <a:pt x="378" y="5481"/>
                  </a:cubicBezTo>
                  <a:cubicBezTo>
                    <a:pt x="189" y="5481"/>
                    <a:pt x="189" y="5481"/>
                    <a:pt x="189" y="5481"/>
                  </a:cubicBezTo>
                  <a:cubicBezTo>
                    <a:pt x="189" y="1134"/>
                    <a:pt x="189" y="1134"/>
                    <a:pt x="189" y="1134"/>
                  </a:cubicBezTo>
                  <a:cubicBezTo>
                    <a:pt x="945" y="1134"/>
                    <a:pt x="945" y="1134"/>
                    <a:pt x="945" y="1134"/>
                  </a:cubicBezTo>
                  <a:cubicBezTo>
                    <a:pt x="1050" y="1134"/>
                    <a:pt x="1134" y="1050"/>
                    <a:pt x="1134" y="945"/>
                  </a:cubicBezTo>
                  <a:cubicBezTo>
                    <a:pt x="1134" y="189"/>
                    <a:pt x="1134" y="189"/>
                    <a:pt x="1134" y="189"/>
                  </a:cubicBezTo>
                  <a:cubicBezTo>
                    <a:pt x="3780" y="189"/>
                    <a:pt x="3780" y="189"/>
                    <a:pt x="3780" y="189"/>
                  </a:cubicBezTo>
                  <a:cubicBezTo>
                    <a:pt x="3780" y="2268"/>
                    <a:pt x="3780" y="2268"/>
                    <a:pt x="3780" y="2268"/>
                  </a:cubicBezTo>
                  <a:cubicBezTo>
                    <a:pt x="3969" y="2268"/>
                    <a:pt x="3969" y="2268"/>
                    <a:pt x="3969" y="2268"/>
                  </a:cubicBezTo>
                  <a:cubicBezTo>
                    <a:pt x="3969" y="189"/>
                    <a:pt x="3969" y="189"/>
                    <a:pt x="3969" y="189"/>
                  </a:cubicBezTo>
                  <a:cubicBezTo>
                    <a:pt x="3969" y="85"/>
                    <a:pt x="3884" y="0"/>
                    <a:pt x="3780" y="0"/>
                  </a:cubicBezTo>
                  <a:close/>
                  <a:moveTo>
                    <a:pt x="2552" y="4725"/>
                  </a:moveTo>
                  <a:cubicBezTo>
                    <a:pt x="2552" y="5008"/>
                    <a:pt x="2552" y="5008"/>
                    <a:pt x="2552" y="5008"/>
                  </a:cubicBezTo>
                  <a:cubicBezTo>
                    <a:pt x="851" y="5008"/>
                    <a:pt x="851" y="5008"/>
                    <a:pt x="851" y="5008"/>
                  </a:cubicBezTo>
                  <a:cubicBezTo>
                    <a:pt x="851" y="4725"/>
                    <a:pt x="851" y="4725"/>
                    <a:pt x="851" y="4725"/>
                  </a:cubicBezTo>
                  <a:lnTo>
                    <a:pt x="2552" y="4725"/>
                  </a:lnTo>
                  <a:close/>
                  <a:moveTo>
                    <a:pt x="1323" y="2835"/>
                  </a:moveTo>
                  <a:cubicBezTo>
                    <a:pt x="1323" y="2418"/>
                    <a:pt x="1662" y="2079"/>
                    <a:pt x="2079" y="2079"/>
                  </a:cubicBezTo>
                  <a:cubicBezTo>
                    <a:pt x="2497" y="2079"/>
                    <a:pt x="2835" y="2418"/>
                    <a:pt x="2835" y="2835"/>
                  </a:cubicBezTo>
                  <a:cubicBezTo>
                    <a:pt x="2835" y="3252"/>
                    <a:pt x="2497" y="3591"/>
                    <a:pt x="2079" y="3591"/>
                  </a:cubicBezTo>
                  <a:cubicBezTo>
                    <a:pt x="1662" y="3590"/>
                    <a:pt x="1324" y="3252"/>
                    <a:pt x="1323" y="2835"/>
                  </a:cubicBezTo>
                  <a:close/>
                  <a:moveTo>
                    <a:pt x="851" y="3780"/>
                  </a:moveTo>
                  <a:cubicBezTo>
                    <a:pt x="2552" y="3780"/>
                    <a:pt x="2552" y="3780"/>
                    <a:pt x="2552" y="3780"/>
                  </a:cubicBezTo>
                  <a:cubicBezTo>
                    <a:pt x="2552" y="4063"/>
                    <a:pt x="2552" y="4063"/>
                    <a:pt x="2552" y="4063"/>
                  </a:cubicBezTo>
                  <a:cubicBezTo>
                    <a:pt x="851" y="4063"/>
                    <a:pt x="851" y="4063"/>
                    <a:pt x="851" y="4063"/>
                  </a:cubicBezTo>
                  <a:lnTo>
                    <a:pt x="851" y="3780"/>
                  </a:lnTo>
                  <a:close/>
                  <a:moveTo>
                    <a:pt x="567" y="4536"/>
                  </a:moveTo>
                  <a:cubicBezTo>
                    <a:pt x="567" y="4252"/>
                    <a:pt x="567" y="4252"/>
                    <a:pt x="567" y="4252"/>
                  </a:cubicBezTo>
                  <a:cubicBezTo>
                    <a:pt x="2268" y="4252"/>
                    <a:pt x="2268" y="4252"/>
                    <a:pt x="2268" y="4252"/>
                  </a:cubicBezTo>
                  <a:cubicBezTo>
                    <a:pt x="2268" y="4536"/>
                    <a:pt x="2268" y="4536"/>
                    <a:pt x="2268" y="4536"/>
                  </a:cubicBezTo>
                  <a:cubicBezTo>
                    <a:pt x="756" y="4536"/>
                    <a:pt x="756" y="4536"/>
                    <a:pt x="756" y="4536"/>
                  </a:cubicBezTo>
                  <a:lnTo>
                    <a:pt x="567" y="4536"/>
                  </a:lnTo>
                  <a:close/>
                  <a:moveTo>
                    <a:pt x="567" y="5197"/>
                  </a:moveTo>
                  <a:cubicBezTo>
                    <a:pt x="2268" y="5197"/>
                    <a:pt x="2268" y="5197"/>
                    <a:pt x="2268" y="5197"/>
                  </a:cubicBezTo>
                  <a:cubicBezTo>
                    <a:pt x="2268" y="5481"/>
                    <a:pt x="2268" y="5481"/>
                    <a:pt x="2268" y="5481"/>
                  </a:cubicBezTo>
                  <a:cubicBezTo>
                    <a:pt x="567" y="5481"/>
                    <a:pt x="567" y="5481"/>
                    <a:pt x="567" y="5481"/>
                  </a:cubicBezTo>
                  <a:lnTo>
                    <a:pt x="567" y="5197"/>
                  </a:lnTo>
                  <a:close/>
                  <a:moveTo>
                    <a:pt x="945" y="945"/>
                  </a:moveTo>
                  <a:cubicBezTo>
                    <a:pt x="323" y="945"/>
                    <a:pt x="323" y="945"/>
                    <a:pt x="323" y="945"/>
                  </a:cubicBezTo>
                  <a:cubicBezTo>
                    <a:pt x="945" y="323"/>
                    <a:pt x="945" y="323"/>
                    <a:pt x="945" y="323"/>
                  </a:cubicBezTo>
                  <a:lnTo>
                    <a:pt x="945" y="9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8" name="Freeform 45">
              <a:extLst>
                <a:ext uri="{FF2B5EF4-FFF2-40B4-BE49-F238E27FC236}">
                  <a16:creationId xmlns:a16="http://schemas.microsoft.com/office/drawing/2014/main" id="{AD99365A-9ABA-50A9-5AE2-340E88995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142775" y="1304925"/>
              <a:ext cx="2393950" cy="4254500"/>
            </a:xfrm>
            <a:custGeom>
              <a:avLst/>
              <a:gdLst>
                <a:gd name="T0" fmla="*/ 319 w 638"/>
                <a:gd name="T1" fmla="*/ 284 h 1134"/>
                <a:gd name="T2" fmla="*/ 603 w 638"/>
                <a:gd name="T3" fmla="*/ 284 h 1134"/>
                <a:gd name="T4" fmla="*/ 603 w 638"/>
                <a:gd name="T5" fmla="*/ 95 h 1134"/>
                <a:gd name="T6" fmla="*/ 414 w 638"/>
                <a:gd name="T7" fmla="*/ 95 h 1134"/>
                <a:gd name="T8" fmla="*/ 414 w 638"/>
                <a:gd name="T9" fmla="*/ 0 h 1134"/>
                <a:gd name="T10" fmla="*/ 225 w 638"/>
                <a:gd name="T11" fmla="*/ 0 h 1134"/>
                <a:gd name="T12" fmla="*/ 225 w 638"/>
                <a:gd name="T13" fmla="*/ 112 h 1134"/>
                <a:gd name="T14" fmla="*/ 52 w 638"/>
                <a:gd name="T15" fmla="*/ 473 h 1134"/>
                <a:gd name="T16" fmla="*/ 319 w 638"/>
                <a:gd name="T17" fmla="*/ 661 h 1134"/>
                <a:gd name="T18" fmla="*/ 414 w 638"/>
                <a:gd name="T19" fmla="*/ 756 h 1134"/>
                <a:gd name="T20" fmla="*/ 319 w 638"/>
                <a:gd name="T21" fmla="*/ 850 h 1134"/>
                <a:gd name="T22" fmla="*/ 36 w 638"/>
                <a:gd name="T23" fmla="*/ 850 h 1134"/>
                <a:gd name="T24" fmla="*/ 36 w 638"/>
                <a:gd name="T25" fmla="*/ 1039 h 1134"/>
                <a:gd name="T26" fmla="*/ 225 w 638"/>
                <a:gd name="T27" fmla="*/ 1039 h 1134"/>
                <a:gd name="T28" fmla="*/ 225 w 638"/>
                <a:gd name="T29" fmla="*/ 1134 h 1134"/>
                <a:gd name="T30" fmla="*/ 414 w 638"/>
                <a:gd name="T31" fmla="*/ 1134 h 1134"/>
                <a:gd name="T32" fmla="*/ 414 w 638"/>
                <a:gd name="T33" fmla="*/ 1022 h 1134"/>
                <a:gd name="T34" fmla="*/ 586 w 638"/>
                <a:gd name="T35" fmla="*/ 661 h 1134"/>
                <a:gd name="T36" fmla="*/ 319 w 638"/>
                <a:gd name="T37" fmla="*/ 473 h 1134"/>
                <a:gd name="T38" fmla="*/ 225 w 638"/>
                <a:gd name="T39" fmla="*/ 378 h 1134"/>
                <a:gd name="T40" fmla="*/ 319 w 638"/>
                <a:gd name="T41" fmla="*/ 28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38" h="1134">
                  <a:moveTo>
                    <a:pt x="319" y="284"/>
                  </a:moveTo>
                  <a:cubicBezTo>
                    <a:pt x="603" y="284"/>
                    <a:pt x="603" y="284"/>
                    <a:pt x="603" y="284"/>
                  </a:cubicBezTo>
                  <a:cubicBezTo>
                    <a:pt x="603" y="95"/>
                    <a:pt x="603" y="95"/>
                    <a:pt x="603" y="95"/>
                  </a:cubicBezTo>
                  <a:cubicBezTo>
                    <a:pt x="414" y="95"/>
                    <a:pt x="414" y="95"/>
                    <a:pt x="414" y="95"/>
                  </a:cubicBezTo>
                  <a:cubicBezTo>
                    <a:pt x="414" y="0"/>
                    <a:pt x="414" y="0"/>
                    <a:pt x="414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5" y="112"/>
                    <a:pt x="225" y="112"/>
                    <a:pt x="225" y="112"/>
                  </a:cubicBezTo>
                  <a:cubicBezTo>
                    <a:pt x="77" y="164"/>
                    <a:pt x="0" y="325"/>
                    <a:pt x="52" y="473"/>
                  </a:cubicBezTo>
                  <a:cubicBezTo>
                    <a:pt x="92" y="586"/>
                    <a:pt x="199" y="662"/>
                    <a:pt x="319" y="661"/>
                  </a:cubicBezTo>
                  <a:cubicBezTo>
                    <a:pt x="371" y="661"/>
                    <a:pt x="414" y="704"/>
                    <a:pt x="414" y="756"/>
                  </a:cubicBezTo>
                  <a:cubicBezTo>
                    <a:pt x="414" y="808"/>
                    <a:pt x="371" y="850"/>
                    <a:pt x="319" y="850"/>
                  </a:cubicBezTo>
                  <a:cubicBezTo>
                    <a:pt x="36" y="850"/>
                    <a:pt x="36" y="850"/>
                    <a:pt x="36" y="850"/>
                  </a:cubicBezTo>
                  <a:cubicBezTo>
                    <a:pt x="36" y="1039"/>
                    <a:pt x="36" y="1039"/>
                    <a:pt x="36" y="1039"/>
                  </a:cubicBezTo>
                  <a:cubicBezTo>
                    <a:pt x="225" y="1039"/>
                    <a:pt x="225" y="1039"/>
                    <a:pt x="225" y="1039"/>
                  </a:cubicBezTo>
                  <a:cubicBezTo>
                    <a:pt x="225" y="1134"/>
                    <a:pt x="225" y="1134"/>
                    <a:pt x="225" y="1134"/>
                  </a:cubicBezTo>
                  <a:cubicBezTo>
                    <a:pt x="414" y="1134"/>
                    <a:pt x="414" y="1134"/>
                    <a:pt x="414" y="1134"/>
                  </a:cubicBezTo>
                  <a:cubicBezTo>
                    <a:pt x="414" y="1022"/>
                    <a:pt x="414" y="1022"/>
                    <a:pt x="414" y="1022"/>
                  </a:cubicBezTo>
                  <a:cubicBezTo>
                    <a:pt x="561" y="970"/>
                    <a:pt x="638" y="809"/>
                    <a:pt x="586" y="661"/>
                  </a:cubicBezTo>
                  <a:cubicBezTo>
                    <a:pt x="546" y="548"/>
                    <a:pt x="439" y="472"/>
                    <a:pt x="319" y="473"/>
                  </a:cubicBezTo>
                  <a:cubicBezTo>
                    <a:pt x="267" y="473"/>
                    <a:pt x="225" y="430"/>
                    <a:pt x="225" y="378"/>
                  </a:cubicBezTo>
                  <a:cubicBezTo>
                    <a:pt x="225" y="326"/>
                    <a:pt x="267" y="284"/>
                    <a:pt x="319" y="2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9" name="Freeform 46">
              <a:extLst>
                <a:ext uri="{FF2B5EF4-FFF2-40B4-BE49-F238E27FC236}">
                  <a16:creationId xmlns:a16="http://schemas.microsoft.com/office/drawing/2014/main" id="{ED2A192F-5E9E-894B-2B91-B2851912AB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1144825" y="-7202488"/>
              <a:ext cx="4964113" cy="8507413"/>
            </a:xfrm>
            <a:custGeom>
              <a:avLst/>
              <a:gdLst>
                <a:gd name="T0" fmla="*/ 1134 w 1323"/>
                <a:gd name="T1" fmla="*/ 473 h 2268"/>
                <a:gd name="T2" fmla="*/ 945 w 1323"/>
                <a:gd name="T3" fmla="*/ 473 h 2268"/>
                <a:gd name="T4" fmla="*/ 850 w 1323"/>
                <a:gd name="T5" fmla="*/ 378 h 2268"/>
                <a:gd name="T6" fmla="*/ 756 w 1323"/>
                <a:gd name="T7" fmla="*/ 378 h 2268"/>
                <a:gd name="T8" fmla="*/ 756 w 1323"/>
                <a:gd name="T9" fmla="*/ 95 h 2268"/>
                <a:gd name="T10" fmla="*/ 661 w 1323"/>
                <a:gd name="T11" fmla="*/ 0 h 2268"/>
                <a:gd name="T12" fmla="*/ 283 w 1323"/>
                <a:gd name="T13" fmla="*/ 0 h 2268"/>
                <a:gd name="T14" fmla="*/ 189 w 1323"/>
                <a:gd name="T15" fmla="*/ 95 h 2268"/>
                <a:gd name="T16" fmla="*/ 189 w 1323"/>
                <a:gd name="T17" fmla="*/ 378 h 2268"/>
                <a:gd name="T18" fmla="*/ 94 w 1323"/>
                <a:gd name="T19" fmla="*/ 378 h 2268"/>
                <a:gd name="T20" fmla="*/ 0 w 1323"/>
                <a:gd name="T21" fmla="*/ 473 h 2268"/>
                <a:gd name="T22" fmla="*/ 0 w 1323"/>
                <a:gd name="T23" fmla="*/ 2268 h 2268"/>
                <a:gd name="T24" fmla="*/ 189 w 1323"/>
                <a:gd name="T25" fmla="*/ 2268 h 2268"/>
                <a:gd name="T26" fmla="*/ 189 w 1323"/>
                <a:gd name="T27" fmla="*/ 567 h 2268"/>
                <a:gd name="T28" fmla="*/ 756 w 1323"/>
                <a:gd name="T29" fmla="*/ 567 h 2268"/>
                <a:gd name="T30" fmla="*/ 756 w 1323"/>
                <a:gd name="T31" fmla="*/ 2268 h 2268"/>
                <a:gd name="T32" fmla="*/ 945 w 1323"/>
                <a:gd name="T33" fmla="*/ 2268 h 2268"/>
                <a:gd name="T34" fmla="*/ 945 w 1323"/>
                <a:gd name="T35" fmla="*/ 662 h 2268"/>
                <a:gd name="T36" fmla="*/ 1134 w 1323"/>
                <a:gd name="T37" fmla="*/ 662 h 2268"/>
                <a:gd name="T38" fmla="*/ 1134 w 1323"/>
                <a:gd name="T39" fmla="*/ 1890 h 2268"/>
                <a:gd name="T40" fmla="*/ 1323 w 1323"/>
                <a:gd name="T41" fmla="*/ 1890 h 2268"/>
                <a:gd name="T42" fmla="*/ 1323 w 1323"/>
                <a:gd name="T43" fmla="*/ 662 h 2268"/>
                <a:gd name="T44" fmla="*/ 1134 w 1323"/>
                <a:gd name="T45" fmla="*/ 473 h 2268"/>
                <a:gd name="T46" fmla="*/ 567 w 1323"/>
                <a:gd name="T47" fmla="*/ 378 h 2268"/>
                <a:gd name="T48" fmla="*/ 378 w 1323"/>
                <a:gd name="T49" fmla="*/ 378 h 2268"/>
                <a:gd name="T50" fmla="*/ 378 w 1323"/>
                <a:gd name="T51" fmla="*/ 189 h 2268"/>
                <a:gd name="T52" fmla="*/ 567 w 1323"/>
                <a:gd name="T53" fmla="*/ 189 h 2268"/>
                <a:gd name="T54" fmla="*/ 567 w 1323"/>
                <a:gd name="T55" fmla="*/ 378 h 2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23" h="2268">
                  <a:moveTo>
                    <a:pt x="1134" y="473"/>
                  </a:moveTo>
                  <a:cubicBezTo>
                    <a:pt x="945" y="473"/>
                    <a:pt x="945" y="473"/>
                    <a:pt x="945" y="473"/>
                  </a:cubicBezTo>
                  <a:cubicBezTo>
                    <a:pt x="945" y="421"/>
                    <a:pt x="902" y="378"/>
                    <a:pt x="850" y="378"/>
                  </a:cubicBezTo>
                  <a:cubicBezTo>
                    <a:pt x="756" y="378"/>
                    <a:pt x="756" y="378"/>
                    <a:pt x="756" y="378"/>
                  </a:cubicBezTo>
                  <a:cubicBezTo>
                    <a:pt x="756" y="95"/>
                    <a:pt x="756" y="95"/>
                    <a:pt x="756" y="95"/>
                  </a:cubicBezTo>
                  <a:cubicBezTo>
                    <a:pt x="756" y="43"/>
                    <a:pt x="713" y="0"/>
                    <a:pt x="661" y="0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31" y="0"/>
                    <a:pt x="189" y="43"/>
                    <a:pt x="189" y="95"/>
                  </a:cubicBezTo>
                  <a:cubicBezTo>
                    <a:pt x="189" y="378"/>
                    <a:pt x="189" y="378"/>
                    <a:pt x="189" y="378"/>
                  </a:cubicBezTo>
                  <a:cubicBezTo>
                    <a:pt x="94" y="378"/>
                    <a:pt x="94" y="378"/>
                    <a:pt x="94" y="378"/>
                  </a:cubicBezTo>
                  <a:cubicBezTo>
                    <a:pt x="42" y="378"/>
                    <a:pt x="0" y="421"/>
                    <a:pt x="0" y="473"/>
                  </a:cubicBezTo>
                  <a:cubicBezTo>
                    <a:pt x="0" y="2268"/>
                    <a:pt x="0" y="2268"/>
                    <a:pt x="0" y="2268"/>
                  </a:cubicBezTo>
                  <a:cubicBezTo>
                    <a:pt x="189" y="2268"/>
                    <a:pt x="189" y="2268"/>
                    <a:pt x="189" y="2268"/>
                  </a:cubicBezTo>
                  <a:cubicBezTo>
                    <a:pt x="189" y="567"/>
                    <a:pt x="189" y="567"/>
                    <a:pt x="189" y="567"/>
                  </a:cubicBezTo>
                  <a:cubicBezTo>
                    <a:pt x="756" y="567"/>
                    <a:pt x="756" y="567"/>
                    <a:pt x="756" y="567"/>
                  </a:cubicBezTo>
                  <a:cubicBezTo>
                    <a:pt x="756" y="2268"/>
                    <a:pt x="756" y="2268"/>
                    <a:pt x="756" y="2268"/>
                  </a:cubicBezTo>
                  <a:cubicBezTo>
                    <a:pt x="945" y="2268"/>
                    <a:pt x="945" y="2268"/>
                    <a:pt x="945" y="2268"/>
                  </a:cubicBezTo>
                  <a:cubicBezTo>
                    <a:pt x="945" y="662"/>
                    <a:pt x="945" y="662"/>
                    <a:pt x="945" y="662"/>
                  </a:cubicBezTo>
                  <a:cubicBezTo>
                    <a:pt x="1134" y="662"/>
                    <a:pt x="1134" y="662"/>
                    <a:pt x="1134" y="662"/>
                  </a:cubicBezTo>
                  <a:cubicBezTo>
                    <a:pt x="1134" y="1890"/>
                    <a:pt x="1134" y="1890"/>
                    <a:pt x="1134" y="1890"/>
                  </a:cubicBezTo>
                  <a:cubicBezTo>
                    <a:pt x="1323" y="1890"/>
                    <a:pt x="1323" y="1890"/>
                    <a:pt x="1323" y="1890"/>
                  </a:cubicBezTo>
                  <a:cubicBezTo>
                    <a:pt x="1323" y="662"/>
                    <a:pt x="1323" y="662"/>
                    <a:pt x="1323" y="662"/>
                  </a:cubicBezTo>
                  <a:cubicBezTo>
                    <a:pt x="1323" y="557"/>
                    <a:pt x="1238" y="473"/>
                    <a:pt x="1134" y="473"/>
                  </a:cubicBezTo>
                  <a:close/>
                  <a:moveTo>
                    <a:pt x="567" y="378"/>
                  </a:moveTo>
                  <a:cubicBezTo>
                    <a:pt x="378" y="378"/>
                    <a:pt x="378" y="378"/>
                    <a:pt x="378" y="378"/>
                  </a:cubicBezTo>
                  <a:cubicBezTo>
                    <a:pt x="378" y="189"/>
                    <a:pt x="378" y="189"/>
                    <a:pt x="378" y="189"/>
                  </a:cubicBezTo>
                  <a:cubicBezTo>
                    <a:pt x="567" y="189"/>
                    <a:pt x="567" y="189"/>
                    <a:pt x="567" y="189"/>
                  </a:cubicBezTo>
                  <a:lnTo>
                    <a:pt x="567" y="3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0" name="Rectangle 47">
              <a:extLst>
                <a:ext uri="{FF2B5EF4-FFF2-40B4-BE49-F238E27FC236}">
                  <a16:creationId xmlns:a16="http://schemas.microsoft.com/office/drawing/2014/main" id="{CF6EFED6-9F14-6BBD-2615-05760DA6D5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1425475" y="-4367213"/>
              <a:ext cx="6026150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1" name="Rectangle 48">
              <a:extLst>
                <a:ext uri="{FF2B5EF4-FFF2-40B4-BE49-F238E27FC236}">
                  <a16:creationId xmlns:a16="http://schemas.microsoft.com/office/drawing/2014/main" id="{317D1994-EE8F-EFDC-6145-3B87D2D63F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327550" y="-2239963"/>
              <a:ext cx="12055475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2" name="Rectangle 49">
              <a:extLst>
                <a:ext uri="{FF2B5EF4-FFF2-40B4-BE49-F238E27FC236}">
                  <a16:creationId xmlns:a16="http://schemas.microsoft.com/office/drawing/2014/main" id="{E8B5B6A0-9C02-E6A8-3FD1-1FAA94B5D3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327550" y="-822325"/>
              <a:ext cx="4254500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3" name="Rectangle 50">
              <a:extLst>
                <a:ext uri="{FF2B5EF4-FFF2-40B4-BE49-F238E27FC236}">
                  <a16:creationId xmlns:a16="http://schemas.microsoft.com/office/drawing/2014/main" id="{C513E8C1-B440-F3B5-E0E5-064933FEE8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6461363" y="-822325"/>
              <a:ext cx="3189288" cy="709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14823636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10</TotalTime>
  <Words>136</Words>
  <Application>Microsoft Office PowerPoint</Application>
  <PresentationFormat>Widescreen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Circular layou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800</cp:revision>
  <dcterms:created xsi:type="dcterms:W3CDTF">2021-03-31T02:49:57Z</dcterms:created>
  <dcterms:modified xsi:type="dcterms:W3CDTF">2025-10-15T03:31:41Z</dcterms:modified>
  <cp:category/>
</cp:coreProperties>
</file>